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294" r:id="rId5"/>
  </p:sldIdLst>
  <p:sldSz cx="43891200" cy="21945600"/>
  <p:notesSz cx="39600188" cy="39600188"/>
  <p:custDataLst>
    <p:tags r:id="rId8"/>
  </p:custDataLst>
  <p:defaultTextStyle>
    <a:defPPr>
      <a:defRPr lang="en-AU"/>
    </a:defPPr>
    <a:lvl1pPr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Times" charset="0"/>
        <a:ea typeface="+mn-ea"/>
        <a:cs typeface="+mn-cs"/>
      </a:defRPr>
    </a:lvl1pPr>
    <a:lvl2pPr marL="30477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Times" charset="0"/>
        <a:ea typeface="+mn-ea"/>
        <a:cs typeface="+mn-cs"/>
      </a:defRPr>
    </a:lvl2pPr>
    <a:lvl3pPr marL="609539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Times" charset="0"/>
        <a:ea typeface="+mn-ea"/>
        <a:cs typeface="+mn-cs"/>
      </a:defRPr>
    </a:lvl3pPr>
    <a:lvl4pPr marL="914309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Times" charset="0"/>
        <a:ea typeface="+mn-ea"/>
        <a:cs typeface="+mn-cs"/>
      </a:defRPr>
    </a:lvl4pPr>
    <a:lvl5pPr marL="1219078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Times" charset="0"/>
        <a:ea typeface="+mn-ea"/>
        <a:cs typeface="+mn-cs"/>
      </a:defRPr>
    </a:lvl5pPr>
    <a:lvl6pPr marL="1523848" algn="l" defTabSz="609539" rtl="0" eaLnBrk="1" latinLnBrk="0" hangingPunct="1">
      <a:defRPr sz="1600" kern="1200">
        <a:solidFill>
          <a:schemeClr val="tx1"/>
        </a:solidFill>
        <a:latin typeface="Times" charset="0"/>
        <a:ea typeface="+mn-ea"/>
        <a:cs typeface="+mn-cs"/>
      </a:defRPr>
    </a:lvl6pPr>
    <a:lvl7pPr marL="1828617" algn="l" defTabSz="609539" rtl="0" eaLnBrk="1" latinLnBrk="0" hangingPunct="1">
      <a:defRPr sz="1600" kern="1200">
        <a:solidFill>
          <a:schemeClr val="tx1"/>
        </a:solidFill>
        <a:latin typeface="Times" charset="0"/>
        <a:ea typeface="+mn-ea"/>
        <a:cs typeface="+mn-cs"/>
      </a:defRPr>
    </a:lvl7pPr>
    <a:lvl8pPr marL="2133387" algn="l" defTabSz="609539" rtl="0" eaLnBrk="1" latinLnBrk="0" hangingPunct="1">
      <a:defRPr sz="1600" kern="1200">
        <a:solidFill>
          <a:schemeClr val="tx1"/>
        </a:solidFill>
        <a:latin typeface="Times" charset="0"/>
        <a:ea typeface="+mn-ea"/>
        <a:cs typeface="+mn-cs"/>
      </a:defRPr>
    </a:lvl8pPr>
    <a:lvl9pPr marL="2438156" algn="l" defTabSz="609539" rtl="0" eaLnBrk="1" latinLnBrk="0" hangingPunct="1">
      <a:defRPr sz="1600" kern="1200">
        <a:solidFill>
          <a:schemeClr val="tx1"/>
        </a:solidFill>
        <a:latin typeface="Times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3609" userDrawn="1">
          <p15:clr>
            <a:srgbClr val="A4A3A4"/>
          </p15:clr>
        </p15:guide>
        <p15:guide id="2" orient="horz" pos="1294" userDrawn="1">
          <p15:clr>
            <a:srgbClr val="A4A3A4"/>
          </p15:clr>
        </p15:guide>
        <p15:guide id="3" orient="horz" pos="9452" userDrawn="1">
          <p15:clr>
            <a:srgbClr val="A4A3A4"/>
          </p15:clr>
        </p15:guide>
        <p15:guide id="4" orient="horz" pos="10560" userDrawn="1">
          <p15:clr>
            <a:srgbClr val="A4A3A4"/>
          </p15:clr>
        </p15:guide>
        <p15:guide id="5" orient="horz" pos="11267" userDrawn="1">
          <p15:clr>
            <a:srgbClr val="A4A3A4"/>
          </p15:clr>
        </p15:guide>
        <p15:guide id="6" orient="horz" pos="11380" userDrawn="1">
          <p15:clr>
            <a:srgbClr val="A4A3A4"/>
          </p15:clr>
        </p15:guide>
        <p15:guide id="7" pos="27228" userDrawn="1">
          <p15:clr>
            <a:srgbClr val="A4A3A4"/>
          </p15:clr>
        </p15:guide>
        <p15:guide id="8" pos="25187" userDrawn="1">
          <p15:clr>
            <a:srgbClr val="A4A3A4"/>
          </p15:clr>
        </p15:guide>
        <p15:guide id="9" pos="511" userDrawn="1">
          <p15:clr>
            <a:srgbClr val="A4A3A4"/>
          </p15:clr>
        </p15:guide>
        <p15:guide id="10" pos="4797" userDrawn="1">
          <p15:clr>
            <a:srgbClr val="A4A3A4"/>
          </p15:clr>
        </p15:guide>
        <p15:guide id="11" pos="7927" userDrawn="1">
          <p15:clr>
            <a:srgbClr val="A4A3A4"/>
          </p15:clr>
        </p15:guide>
        <p15:guide id="12" pos="10603" userDrawn="1">
          <p15:clr>
            <a:srgbClr val="A4A3A4"/>
          </p15:clr>
        </p15:guide>
        <p15:guide id="13" pos="9829" userDrawn="1">
          <p15:clr>
            <a:srgbClr val="A4A3A4"/>
          </p15:clr>
        </p15:guide>
        <p15:guide id="14" pos="15276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D79AEEE-AD24-E482-14E4-9E28AF586AD9}" name="Anupama M" initials="AM" userId="S::m1@purdue.edu::8d7765c7-3b7d-4694-91dd-cbb5d5d16731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chin Ulhas Arakeri" initials="SUA" lastIdx="1" clrIdx="0">
    <p:extLst>
      <p:ext uri="{19B8F6BF-5375-455C-9EA6-DF929625EA0E}">
        <p15:presenceInfo xmlns:p15="http://schemas.microsoft.com/office/powerpoint/2012/main" userId="Sachin Ulhas Arakeri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1810B"/>
    <a:srgbClr val="DDC69A"/>
    <a:srgbClr val="DEC699"/>
    <a:srgbClr val="CFB991"/>
    <a:srgbClr val="5CC96C"/>
    <a:srgbClr val="035FA0"/>
    <a:srgbClr val="D23A43"/>
    <a:srgbClr val="10253F"/>
    <a:srgbClr val="1F497D"/>
    <a:srgbClr val="13187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9C3E44C-FD3C-0AD6-FDA9-FAB3B701383E}" v="10" dt="2024-05-04T21:41:23.97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07"/>
    <p:restoredTop sz="94624"/>
  </p:normalViewPr>
  <p:slideViewPr>
    <p:cSldViewPr snapToGrid="0">
      <p:cViewPr varScale="1">
        <p:scale>
          <a:sx n="28" d="100"/>
          <a:sy n="28" d="100"/>
        </p:scale>
        <p:origin x="256" y="552"/>
      </p:cViewPr>
      <p:guideLst>
        <p:guide orient="horz" pos="13609"/>
        <p:guide orient="horz" pos="1294"/>
        <p:guide orient="horz" pos="9452"/>
        <p:guide orient="horz" pos="10560"/>
        <p:guide orient="horz" pos="11267"/>
        <p:guide orient="horz" pos="11380"/>
        <p:guide pos="27228"/>
        <p:guide pos="25187"/>
        <p:guide pos="511"/>
        <p:guide pos="4797"/>
        <p:guide pos="7927"/>
        <p:guide pos="10603"/>
        <p:guide pos="9829"/>
        <p:guide pos="1527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eertana Madan" userId="2d1457c4-c4f2-483f-bdfb-6d2b6e6f88c2" providerId="ADAL" clId="{EDC6CC62-546B-423E-A994-F0E8C2C01E69}"/>
    <pc:docChg chg="undo custSel addSld delSld modSld">
      <pc:chgData name="Keertana Madan" userId="2d1457c4-c4f2-483f-bdfb-6d2b6e6f88c2" providerId="ADAL" clId="{EDC6CC62-546B-423E-A994-F0E8C2C01E69}" dt="2024-04-05T18:56:18.103" v="22" actId="47"/>
      <pc:docMkLst>
        <pc:docMk/>
      </pc:docMkLst>
      <pc:sldChg chg="addSp delSp modSp mod modTransition modAnim">
        <pc:chgData name="Keertana Madan" userId="2d1457c4-c4f2-483f-bdfb-6d2b6e6f88c2" providerId="ADAL" clId="{EDC6CC62-546B-423E-A994-F0E8C2C01E69}" dt="2024-04-05T01:28:49.945" v="2"/>
        <pc:sldMkLst>
          <pc:docMk/>
          <pc:sldMk cId="2277792554" sldId="301"/>
        </pc:sldMkLst>
        <pc:picChg chg="del">
          <ac:chgData name="Keertana Madan" userId="2d1457c4-c4f2-483f-bdfb-6d2b6e6f88c2" providerId="ADAL" clId="{EDC6CC62-546B-423E-A994-F0E8C2C01E69}" dt="2024-04-05T01:28:26.595" v="1"/>
          <ac:picMkLst>
            <pc:docMk/>
            <pc:sldMk cId="2277792554" sldId="301"/>
            <ac:picMk id="4" creationId="{73E3BA17-FF2A-C333-EB7E-55CD7210CDEF}"/>
          </ac:picMkLst>
        </pc:picChg>
        <pc:picChg chg="add del mod ord">
          <ac:chgData name="Keertana Madan" userId="2d1457c4-c4f2-483f-bdfb-6d2b6e6f88c2" providerId="ADAL" clId="{EDC6CC62-546B-423E-A994-F0E8C2C01E69}" dt="2024-04-05T01:28:49.945" v="2"/>
          <ac:picMkLst>
            <pc:docMk/>
            <pc:sldMk cId="2277792554" sldId="301"/>
            <ac:picMk id="126" creationId="{2085E8C0-B2A3-00FE-6E56-1B67C549BFF9}"/>
          </ac:picMkLst>
        </pc:picChg>
        <pc:picChg chg="add mod">
          <ac:chgData name="Keertana Madan" userId="2d1457c4-c4f2-483f-bdfb-6d2b6e6f88c2" providerId="ADAL" clId="{EDC6CC62-546B-423E-A994-F0E8C2C01E69}" dt="2024-04-05T01:28:49.945" v="2"/>
          <ac:picMkLst>
            <pc:docMk/>
            <pc:sldMk cId="2277792554" sldId="301"/>
            <ac:picMk id="129" creationId="{15883C39-C653-78BE-8063-F4B6E4803962}"/>
          </ac:picMkLst>
        </pc:picChg>
      </pc:sldChg>
      <pc:sldChg chg="modSp mod modTransition">
        <pc:chgData name="Keertana Madan" userId="2d1457c4-c4f2-483f-bdfb-6d2b6e6f88c2" providerId="ADAL" clId="{EDC6CC62-546B-423E-A994-F0E8C2C01E69}" dt="2024-04-05T18:52:13.702" v="21" actId="5793"/>
        <pc:sldMkLst>
          <pc:docMk/>
          <pc:sldMk cId="2928195632" sldId="302"/>
        </pc:sldMkLst>
        <pc:spChg chg="mod">
          <ac:chgData name="Keertana Madan" userId="2d1457c4-c4f2-483f-bdfb-6d2b6e6f88c2" providerId="ADAL" clId="{EDC6CC62-546B-423E-A994-F0E8C2C01E69}" dt="2024-04-05T18:50:46.388" v="8" actId="34135"/>
          <ac:spMkLst>
            <pc:docMk/>
            <pc:sldMk cId="2928195632" sldId="302"/>
            <ac:spMk id="3" creationId="{393941FE-9D82-4634-B879-C7ACD765753F}"/>
          </ac:spMkLst>
        </pc:spChg>
        <pc:spChg chg="mod">
          <ac:chgData name="Keertana Madan" userId="2d1457c4-c4f2-483f-bdfb-6d2b6e6f88c2" providerId="ADAL" clId="{EDC6CC62-546B-423E-A994-F0E8C2C01E69}" dt="2024-04-05T18:50:46.388" v="8" actId="34135"/>
          <ac:spMkLst>
            <pc:docMk/>
            <pc:sldMk cId="2928195632" sldId="302"/>
            <ac:spMk id="31" creationId="{ED9C24BE-4BC6-F60D-331A-C81006ACDABE}"/>
          </ac:spMkLst>
        </pc:spChg>
        <pc:spChg chg="mod">
          <ac:chgData name="Keertana Madan" userId="2d1457c4-c4f2-483f-bdfb-6d2b6e6f88c2" providerId="ADAL" clId="{EDC6CC62-546B-423E-A994-F0E8C2C01E69}" dt="2024-04-05T18:50:46.388" v="8" actId="34135"/>
          <ac:spMkLst>
            <pc:docMk/>
            <pc:sldMk cId="2928195632" sldId="302"/>
            <ac:spMk id="35" creationId="{BA1BD031-B125-DEF1-F5F7-9BCE821658BD}"/>
          </ac:spMkLst>
        </pc:spChg>
        <pc:spChg chg="mod">
          <ac:chgData name="Keertana Madan" userId="2d1457c4-c4f2-483f-bdfb-6d2b6e6f88c2" providerId="ADAL" clId="{EDC6CC62-546B-423E-A994-F0E8C2C01E69}" dt="2024-04-05T18:50:46.388" v="8" actId="34135"/>
          <ac:spMkLst>
            <pc:docMk/>
            <pc:sldMk cId="2928195632" sldId="302"/>
            <ac:spMk id="55" creationId="{0BDFD781-FA2F-4C95-A898-2E83C4466408}"/>
          </ac:spMkLst>
        </pc:spChg>
        <pc:spChg chg="mod">
          <ac:chgData name="Keertana Madan" userId="2d1457c4-c4f2-483f-bdfb-6d2b6e6f88c2" providerId="ADAL" clId="{EDC6CC62-546B-423E-A994-F0E8C2C01E69}" dt="2024-04-05T18:50:46.388" v="8" actId="34135"/>
          <ac:spMkLst>
            <pc:docMk/>
            <pc:sldMk cId="2928195632" sldId="302"/>
            <ac:spMk id="57" creationId="{D0AEBDE7-57D5-416C-961F-58227600F46B}"/>
          </ac:spMkLst>
        </pc:spChg>
        <pc:spChg chg="mod">
          <ac:chgData name="Keertana Madan" userId="2d1457c4-c4f2-483f-bdfb-6d2b6e6f88c2" providerId="ADAL" clId="{EDC6CC62-546B-423E-A994-F0E8C2C01E69}" dt="2024-04-05T18:52:13.702" v="21" actId="5793"/>
          <ac:spMkLst>
            <pc:docMk/>
            <pc:sldMk cId="2928195632" sldId="302"/>
            <ac:spMk id="69" creationId="{A68AC5B8-7E22-588B-D4FC-7A8A93207420}"/>
          </ac:spMkLst>
        </pc:spChg>
        <pc:spChg chg="mod">
          <ac:chgData name="Keertana Madan" userId="2d1457c4-c4f2-483f-bdfb-6d2b6e6f88c2" providerId="ADAL" clId="{EDC6CC62-546B-423E-A994-F0E8C2C01E69}" dt="2024-04-05T18:50:46.388" v="8" actId="34135"/>
          <ac:spMkLst>
            <pc:docMk/>
            <pc:sldMk cId="2928195632" sldId="302"/>
            <ac:spMk id="100" creationId="{1AEDB9D2-4F30-438B-B936-A04F0AB6C83E}"/>
          </ac:spMkLst>
        </pc:spChg>
        <pc:spChg chg="mod">
          <ac:chgData name="Keertana Madan" userId="2d1457c4-c4f2-483f-bdfb-6d2b6e6f88c2" providerId="ADAL" clId="{EDC6CC62-546B-423E-A994-F0E8C2C01E69}" dt="2024-04-05T18:50:46.388" v="8" actId="34135"/>
          <ac:spMkLst>
            <pc:docMk/>
            <pc:sldMk cId="2928195632" sldId="302"/>
            <ac:spMk id="102" creationId="{3E1AC83C-48E8-E4A0-EFEA-80358CE38DA6}"/>
          </ac:spMkLst>
        </pc:spChg>
        <pc:spChg chg="mod">
          <ac:chgData name="Keertana Madan" userId="2d1457c4-c4f2-483f-bdfb-6d2b6e6f88c2" providerId="ADAL" clId="{EDC6CC62-546B-423E-A994-F0E8C2C01E69}" dt="2024-04-05T18:50:46.388" v="8" actId="34135"/>
          <ac:spMkLst>
            <pc:docMk/>
            <pc:sldMk cId="2928195632" sldId="302"/>
            <ac:spMk id="104" creationId="{8DCBB2BC-659F-003C-253C-C8FBC7468FFE}"/>
          </ac:spMkLst>
        </pc:spChg>
        <pc:spChg chg="mod">
          <ac:chgData name="Keertana Madan" userId="2d1457c4-c4f2-483f-bdfb-6d2b6e6f88c2" providerId="ADAL" clId="{EDC6CC62-546B-423E-A994-F0E8C2C01E69}" dt="2024-04-05T18:50:46.388" v="8" actId="34135"/>
          <ac:spMkLst>
            <pc:docMk/>
            <pc:sldMk cId="2928195632" sldId="302"/>
            <ac:spMk id="109" creationId="{00845E48-A31C-3633-354C-916A3E3360B5}"/>
          </ac:spMkLst>
        </pc:spChg>
        <pc:graphicFrameChg chg="mod">
          <ac:chgData name="Keertana Madan" userId="2d1457c4-c4f2-483f-bdfb-6d2b6e6f88c2" providerId="ADAL" clId="{EDC6CC62-546B-423E-A994-F0E8C2C01E69}" dt="2024-04-05T18:50:46.388" v="8" actId="34135"/>
          <ac:graphicFrameMkLst>
            <pc:docMk/>
            <pc:sldMk cId="2928195632" sldId="302"/>
            <ac:graphicFrameMk id="25" creationId="{2743614B-A5F7-2BDA-5BEA-4A02C1323140}"/>
          </ac:graphicFrameMkLst>
        </pc:graphicFrameChg>
        <pc:graphicFrameChg chg="mod">
          <ac:chgData name="Keertana Madan" userId="2d1457c4-c4f2-483f-bdfb-6d2b6e6f88c2" providerId="ADAL" clId="{EDC6CC62-546B-423E-A994-F0E8C2C01E69}" dt="2024-04-05T18:50:46.388" v="8" actId="34135"/>
          <ac:graphicFrameMkLst>
            <pc:docMk/>
            <pc:sldMk cId="2928195632" sldId="302"/>
            <ac:graphicFrameMk id="33" creationId="{D810B262-83C5-5F35-EA58-C4A17FD08AAC}"/>
          </ac:graphicFrameMkLst>
        </pc:graphicFrameChg>
        <pc:picChg chg="mod">
          <ac:chgData name="Keertana Madan" userId="2d1457c4-c4f2-483f-bdfb-6d2b6e6f88c2" providerId="ADAL" clId="{EDC6CC62-546B-423E-A994-F0E8C2C01E69}" dt="2024-04-05T18:50:46.388" v="8" actId="34135"/>
          <ac:picMkLst>
            <pc:docMk/>
            <pc:sldMk cId="2928195632" sldId="302"/>
            <ac:picMk id="101" creationId="{C6B8E5D6-7F67-08DF-22A9-8CA5736F924B}"/>
          </ac:picMkLst>
        </pc:picChg>
        <pc:picChg chg="mod">
          <ac:chgData name="Keertana Madan" userId="2d1457c4-c4f2-483f-bdfb-6d2b6e6f88c2" providerId="ADAL" clId="{EDC6CC62-546B-423E-A994-F0E8C2C01E69}" dt="2024-04-05T18:50:46.388" v="8" actId="34135"/>
          <ac:picMkLst>
            <pc:docMk/>
            <pc:sldMk cId="2928195632" sldId="302"/>
            <ac:picMk id="103" creationId="{395E2870-5C9B-882D-7E3B-359143B7CDD5}"/>
          </ac:picMkLst>
        </pc:picChg>
        <pc:cxnChg chg="mod">
          <ac:chgData name="Keertana Madan" userId="2d1457c4-c4f2-483f-bdfb-6d2b6e6f88c2" providerId="ADAL" clId="{EDC6CC62-546B-423E-A994-F0E8C2C01E69}" dt="2024-04-05T18:50:46.388" v="8" actId="34135"/>
          <ac:cxnSpMkLst>
            <pc:docMk/>
            <pc:sldMk cId="2928195632" sldId="302"/>
            <ac:cxnSpMk id="58" creationId="{F07F1DA0-8053-4E69-8275-772C1A191B71}"/>
          </ac:cxnSpMkLst>
        </pc:cxnChg>
      </pc:sldChg>
      <pc:sldChg chg="addSp modSp new del mod">
        <pc:chgData name="Keertana Madan" userId="2d1457c4-c4f2-483f-bdfb-6d2b6e6f88c2" providerId="ADAL" clId="{EDC6CC62-546B-423E-A994-F0E8C2C01E69}" dt="2024-04-05T18:56:18.103" v="22" actId="47"/>
        <pc:sldMkLst>
          <pc:docMk/>
          <pc:sldMk cId="3544614776" sldId="305"/>
        </pc:sldMkLst>
        <pc:spChg chg="add mod">
          <ac:chgData name="Keertana Madan" userId="2d1457c4-c4f2-483f-bdfb-6d2b6e6f88c2" providerId="ADAL" clId="{EDC6CC62-546B-423E-A994-F0E8C2C01E69}" dt="2024-04-05T18:51:35.645" v="16" actId="14100"/>
          <ac:spMkLst>
            <pc:docMk/>
            <pc:sldMk cId="3544614776" sldId="305"/>
            <ac:spMk id="2" creationId="{07AAEA79-8944-ECE2-C99A-A78B0A65253C}"/>
          </ac:spMkLst>
        </pc:spChg>
        <pc:spChg chg="add mod">
          <ac:chgData name="Keertana Madan" userId="2d1457c4-c4f2-483f-bdfb-6d2b6e6f88c2" providerId="ADAL" clId="{EDC6CC62-546B-423E-A994-F0E8C2C01E69}" dt="2024-04-05T18:51:35.645" v="16" actId="14100"/>
          <ac:spMkLst>
            <pc:docMk/>
            <pc:sldMk cId="3544614776" sldId="305"/>
            <ac:spMk id="3" creationId="{D8B4EF4A-13F6-5316-AC0D-19458A72291E}"/>
          </ac:spMkLst>
        </pc:spChg>
        <pc:spChg chg="add mod">
          <ac:chgData name="Keertana Madan" userId="2d1457c4-c4f2-483f-bdfb-6d2b6e6f88c2" providerId="ADAL" clId="{EDC6CC62-546B-423E-A994-F0E8C2C01E69}" dt="2024-04-05T18:51:35.645" v="16" actId="14100"/>
          <ac:spMkLst>
            <pc:docMk/>
            <pc:sldMk cId="3544614776" sldId="305"/>
            <ac:spMk id="5" creationId="{4DA73E57-AC0E-1B55-2E15-EA73081242C1}"/>
          </ac:spMkLst>
        </pc:spChg>
        <pc:spChg chg="add mod">
          <ac:chgData name="Keertana Madan" userId="2d1457c4-c4f2-483f-bdfb-6d2b6e6f88c2" providerId="ADAL" clId="{EDC6CC62-546B-423E-A994-F0E8C2C01E69}" dt="2024-04-05T18:51:35.645" v="16" actId="14100"/>
          <ac:spMkLst>
            <pc:docMk/>
            <pc:sldMk cId="3544614776" sldId="305"/>
            <ac:spMk id="6" creationId="{71F5E767-D9C1-D814-A943-A59AE128AA0C}"/>
          </ac:spMkLst>
        </pc:spChg>
        <pc:spChg chg="add mod">
          <ac:chgData name="Keertana Madan" userId="2d1457c4-c4f2-483f-bdfb-6d2b6e6f88c2" providerId="ADAL" clId="{EDC6CC62-546B-423E-A994-F0E8C2C01E69}" dt="2024-04-05T18:51:53.542" v="19" actId="1076"/>
          <ac:spMkLst>
            <pc:docMk/>
            <pc:sldMk cId="3544614776" sldId="305"/>
            <ac:spMk id="8" creationId="{58D10303-1F94-83E6-70D4-181EF2DDDC69}"/>
          </ac:spMkLst>
        </pc:spChg>
        <pc:spChg chg="add mod">
          <ac:chgData name="Keertana Madan" userId="2d1457c4-c4f2-483f-bdfb-6d2b6e6f88c2" providerId="ADAL" clId="{EDC6CC62-546B-423E-A994-F0E8C2C01E69}" dt="2024-04-05T18:51:35.645" v="16" actId="14100"/>
          <ac:spMkLst>
            <pc:docMk/>
            <pc:sldMk cId="3544614776" sldId="305"/>
            <ac:spMk id="10" creationId="{0737DE73-50EA-A996-D239-52ABE9033030}"/>
          </ac:spMkLst>
        </pc:spChg>
        <pc:spChg chg="add mod">
          <ac:chgData name="Keertana Madan" userId="2d1457c4-c4f2-483f-bdfb-6d2b6e6f88c2" providerId="ADAL" clId="{EDC6CC62-546B-423E-A994-F0E8C2C01E69}" dt="2024-04-05T18:51:35.645" v="16" actId="14100"/>
          <ac:spMkLst>
            <pc:docMk/>
            <pc:sldMk cId="3544614776" sldId="305"/>
            <ac:spMk id="11" creationId="{44D7E8EC-ECC1-CA5B-FB3F-73ED1980010F}"/>
          </ac:spMkLst>
        </pc:spChg>
        <pc:spChg chg="add mod">
          <ac:chgData name="Keertana Madan" userId="2d1457c4-c4f2-483f-bdfb-6d2b6e6f88c2" providerId="ADAL" clId="{EDC6CC62-546B-423E-A994-F0E8C2C01E69}" dt="2024-04-05T18:52:03.509" v="20" actId="1076"/>
          <ac:spMkLst>
            <pc:docMk/>
            <pc:sldMk cId="3544614776" sldId="305"/>
            <ac:spMk id="12" creationId="{B0A7BD86-DED9-D145-55C8-1C853987ABFD}"/>
          </ac:spMkLst>
        </pc:spChg>
        <pc:spChg chg="add mod">
          <ac:chgData name="Keertana Madan" userId="2d1457c4-c4f2-483f-bdfb-6d2b6e6f88c2" providerId="ADAL" clId="{EDC6CC62-546B-423E-A994-F0E8C2C01E69}" dt="2024-04-05T18:51:35.645" v="16" actId="14100"/>
          <ac:spMkLst>
            <pc:docMk/>
            <pc:sldMk cId="3544614776" sldId="305"/>
            <ac:spMk id="14" creationId="{E8319E02-1EC0-01E1-FE88-7795278699C9}"/>
          </ac:spMkLst>
        </pc:spChg>
        <pc:spChg chg="add mod">
          <ac:chgData name="Keertana Madan" userId="2d1457c4-c4f2-483f-bdfb-6d2b6e6f88c2" providerId="ADAL" clId="{EDC6CC62-546B-423E-A994-F0E8C2C01E69}" dt="2024-04-05T18:51:53.542" v="19" actId="1076"/>
          <ac:spMkLst>
            <pc:docMk/>
            <pc:sldMk cId="3544614776" sldId="305"/>
            <ac:spMk id="16" creationId="{35F88B4B-11A9-C228-2090-FE8D8E80DAEA}"/>
          </ac:spMkLst>
        </pc:spChg>
        <pc:graphicFrameChg chg="add mod modGraphic">
          <ac:chgData name="Keertana Madan" userId="2d1457c4-c4f2-483f-bdfb-6d2b6e6f88c2" providerId="ADAL" clId="{EDC6CC62-546B-423E-A994-F0E8C2C01E69}" dt="2024-04-05T18:51:35.645" v="16" actId="14100"/>
          <ac:graphicFrameMkLst>
            <pc:docMk/>
            <pc:sldMk cId="3544614776" sldId="305"/>
            <ac:graphicFrameMk id="13" creationId="{5D19D63F-56A2-DBB4-BD69-0FC395C02118}"/>
          </ac:graphicFrameMkLst>
        </pc:graphicFrameChg>
        <pc:graphicFrameChg chg="add mod modGraphic">
          <ac:chgData name="Keertana Madan" userId="2d1457c4-c4f2-483f-bdfb-6d2b6e6f88c2" providerId="ADAL" clId="{EDC6CC62-546B-423E-A994-F0E8C2C01E69}" dt="2024-04-05T18:51:53.542" v="19" actId="1076"/>
          <ac:graphicFrameMkLst>
            <pc:docMk/>
            <pc:sldMk cId="3544614776" sldId="305"/>
            <ac:graphicFrameMk id="15" creationId="{6654D99C-3CA6-314C-534A-AD6F961632F5}"/>
          </ac:graphicFrameMkLst>
        </pc:graphicFrameChg>
        <pc:picChg chg="add mod">
          <ac:chgData name="Keertana Madan" userId="2d1457c4-c4f2-483f-bdfb-6d2b6e6f88c2" providerId="ADAL" clId="{EDC6CC62-546B-423E-A994-F0E8C2C01E69}" dt="2024-04-05T18:51:35.645" v="16" actId="14100"/>
          <ac:picMkLst>
            <pc:docMk/>
            <pc:sldMk cId="3544614776" sldId="305"/>
            <ac:picMk id="7" creationId="{4420FBE1-0EC6-F082-FB05-3C00003B61C7}"/>
          </ac:picMkLst>
        </pc:picChg>
        <pc:picChg chg="add mod">
          <ac:chgData name="Keertana Madan" userId="2d1457c4-c4f2-483f-bdfb-6d2b6e6f88c2" providerId="ADAL" clId="{EDC6CC62-546B-423E-A994-F0E8C2C01E69}" dt="2024-04-05T18:51:53.542" v="19" actId="1076"/>
          <ac:picMkLst>
            <pc:docMk/>
            <pc:sldMk cId="3544614776" sldId="305"/>
            <ac:picMk id="9" creationId="{5E8A21DE-D698-B1A8-33BD-0D6411EE89BF}"/>
          </ac:picMkLst>
        </pc:picChg>
        <pc:cxnChg chg="add mod">
          <ac:chgData name="Keertana Madan" userId="2d1457c4-c4f2-483f-bdfb-6d2b6e6f88c2" providerId="ADAL" clId="{EDC6CC62-546B-423E-A994-F0E8C2C01E69}" dt="2024-04-05T18:51:35.645" v="16" actId="14100"/>
          <ac:cxnSpMkLst>
            <pc:docMk/>
            <pc:sldMk cId="3544614776" sldId="305"/>
            <ac:cxnSpMk id="4" creationId="{1BAA4F6D-8DAA-D28A-7EEB-64BA98598EB9}"/>
          </ac:cxnSpMkLst>
        </pc:cxnChg>
      </pc:sldChg>
    </pc:docChg>
  </pc:docChgLst>
  <pc:docChgLst>
    <pc:chgData name="Anupama M" userId="8d7765c7-3b7d-4694-91dd-cbb5d5d16731" providerId="ADAL" clId="{56754E26-86E1-7146-B527-B30EC7ADD29C}"/>
    <pc:docChg chg="addSld modSld">
      <pc:chgData name="Anupama M" userId="8d7765c7-3b7d-4694-91dd-cbb5d5d16731" providerId="ADAL" clId="{56754E26-86E1-7146-B527-B30EC7ADD29C}" dt="2024-04-05T19:51:27.272" v="18" actId="12"/>
      <pc:docMkLst>
        <pc:docMk/>
      </pc:docMkLst>
      <pc:sldChg chg="addSp modSp modTransition modAnim">
        <pc:chgData name="Anupama M" userId="8d7765c7-3b7d-4694-91dd-cbb5d5d16731" providerId="ADAL" clId="{56754E26-86E1-7146-B527-B30EC7ADD29C}" dt="2024-04-05T02:13:41.842" v="17"/>
        <pc:sldMkLst>
          <pc:docMk/>
          <pc:sldMk cId="2883538080" sldId="294"/>
        </pc:sldMkLst>
        <pc:picChg chg="add mod">
          <ac:chgData name="Anupama M" userId="8d7765c7-3b7d-4694-91dd-cbb5d5d16731" providerId="ADAL" clId="{56754E26-86E1-7146-B527-B30EC7ADD29C}" dt="2024-04-05T02:13:41.842" v="17"/>
          <ac:picMkLst>
            <pc:docMk/>
            <pc:sldMk cId="2883538080" sldId="294"/>
            <ac:picMk id="72" creationId="{245DC8A0-56F8-A6A0-6DB9-B0DD5CF49802}"/>
          </ac:picMkLst>
        </pc:picChg>
      </pc:sldChg>
      <pc:sldChg chg="addSp modSp modTransition modAnim">
        <pc:chgData name="Anupama M" userId="8d7765c7-3b7d-4694-91dd-cbb5d5d16731" providerId="ADAL" clId="{56754E26-86E1-7146-B527-B30EC7ADD29C}" dt="2024-04-05T01:58:42.008" v="4"/>
        <pc:sldMkLst>
          <pc:docMk/>
          <pc:sldMk cId="2277792554" sldId="301"/>
        </pc:sldMkLst>
        <pc:picChg chg="add mod">
          <ac:chgData name="Anupama M" userId="8d7765c7-3b7d-4694-91dd-cbb5d5d16731" providerId="ADAL" clId="{56754E26-86E1-7146-B527-B30EC7ADD29C}" dt="2024-04-05T01:58:42.008" v="4"/>
          <ac:picMkLst>
            <pc:docMk/>
            <pc:sldMk cId="2277792554" sldId="301"/>
            <ac:picMk id="77" creationId="{6F72702F-05EF-6581-36A8-39E3E7570766}"/>
          </ac:picMkLst>
        </pc:picChg>
      </pc:sldChg>
      <pc:sldChg chg="modSp add mod">
        <pc:chgData name="Anupama M" userId="8d7765c7-3b7d-4694-91dd-cbb5d5d16731" providerId="ADAL" clId="{56754E26-86E1-7146-B527-B30EC7ADD29C}" dt="2024-04-05T19:51:27.272" v="18" actId="12"/>
        <pc:sldMkLst>
          <pc:docMk/>
          <pc:sldMk cId="2928195632" sldId="302"/>
        </pc:sldMkLst>
        <pc:spChg chg="mod">
          <ac:chgData name="Anupama M" userId="8d7765c7-3b7d-4694-91dd-cbb5d5d16731" providerId="ADAL" clId="{56754E26-86E1-7146-B527-B30EC7ADD29C}" dt="2024-04-05T19:51:27.272" v="18" actId="12"/>
          <ac:spMkLst>
            <pc:docMk/>
            <pc:sldMk cId="2928195632" sldId="302"/>
            <ac:spMk id="69" creationId="{A68AC5B8-7E22-588B-D4FC-7A8A93207420}"/>
          </ac:spMkLst>
        </pc:spChg>
      </pc:sldChg>
      <pc:sldChg chg="add">
        <pc:chgData name="Anupama M" userId="8d7765c7-3b7d-4694-91dd-cbb5d5d16731" providerId="ADAL" clId="{56754E26-86E1-7146-B527-B30EC7ADD29C}" dt="2024-04-05T01:29:52.176" v="1"/>
        <pc:sldMkLst>
          <pc:docMk/>
          <pc:sldMk cId="3992522977" sldId="303"/>
        </pc:sldMkLst>
      </pc:sldChg>
      <pc:sldChg chg="add">
        <pc:chgData name="Anupama M" userId="8d7765c7-3b7d-4694-91dd-cbb5d5d16731" providerId="ADAL" clId="{56754E26-86E1-7146-B527-B30EC7ADD29C}" dt="2024-04-05T01:29:53.630" v="2"/>
        <pc:sldMkLst>
          <pc:docMk/>
          <pc:sldMk cId="3580028020" sldId="304"/>
        </pc:sldMkLst>
      </pc:sldChg>
    </pc:docChg>
  </pc:docChgLst>
  <pc:docChgLst>
    <pc:chgData name="Kavyasri Jadala" userId="S::kjadala@purdue.edu::db687c12-7a26-4519-bac9-b9dc3b56fe08" providerId="AD" clId="Web-{A9C3E44C-FD3C-0AD6-FDA9-FAB3B701383E}"/>
    <pc:docChg chg="modSld">
      <pc:chgData name="Kavyasri Jadala" userId="S::kjadala@purdue.edu::db687c12-7a26-4519-bac9-b9dc3b56fe08" providerId="AD" clId="Web-{A9C3E44C-FD3C-0AD6-FDA9-FAB3B701383E}" dt="2024-05-04T21:41:23.971" v="4" actId="1076"/>
      <pc:docMkLst>
        <pc:docMk/>
      </pc:docMkLst>
      <pc:sldChg chg="addSp delSp modSp">
        <pc:chgData name="Kavyasri Jadala" userId="S::kjadala@purdue.edu::db687c12-7a26-4519-bac9-b9dc3b56fe08" providerId="AD" clId="Web-{A9C3E44C-FD3C-0AD6-FDA9-FAB3B701383E}" dt="2024-05-04T21:41:23.971" v="4" actId="1076"/>
        <pc:sldMkLst>
          <pc:docMk/>
          <pc:sldMk cId="2883538080" sldId="294"/>
        </pc:sldMkLst>
        <pc:spChg chg="mod">
          <ac:chgData name="Kavyasri Jadala" userId="S::kjadala@purdue.edu::db687c12-7a26-4519-bac9-b9dc3b56fe08" providerId="AD" clId="Web-{A9C3E44C-FD3C-0AD6-FDA9-FAB3B701383E}" dt="2024-05-04T21:13:29.280" v="3" actId="20577"/>
          <ac:spMkLst>
            <pc:docMk/>
            <pc:sldMk cId="2883538080" sldId="294"/>
            <ac:spMk id="41" creationId="{E0F07C95-6043-56C8-6DD5-B036A422C06B}"/>
          </ac:spMkLst>
        </pc:spChg>
        <pc:grpChg chg="add del">
          <ac:chgData name="Kavyasri Jadala" userId="S::kjadala@purdue.edu::db687c12-7a26-4519-bac9-b9dc3b56fe08" providerId="AD" clId="Web-{A9C3E44C-FD3C-0AD6-FDA9-FAB3B701383E}" dt="2024-05-04T21:01:32.454" v="2"/>
          <ac:grpSpMkLst>
            <pc:docMk/>
            <pc:sldMk cId="2883538080" sldId="294"/>
            <ac:grpSpMk id="75" creationId="{315ADD07-B558-D44A-BF6A-B63D8C9AF94D}"/>
          </ac:grpSpMkLst>
        </pc:grpChg>
        <pc:picChg chg="mod">
          <ac:chgData name="Kavyasri Jadala" userId="S::kjadala@purdue.edu::db687c12-7a26-4519-bac9-b9dc3b56fe08" providerId="AD" clId="Web-{A9C3E44C-FD3C-0AD6-FDA9-FAB3B701383E}" dt="2024-05-04T21:41:23.971" v="4" actId="1076"/>
          <ac:picMkLst>
            <pc:docMk/>
            <pc:sldMk cId="2883538080" sldId="294"/>
            <ac:picMk id="72" creationId="{245DC8A0-56F8-A6A0-6DB9-B0DD5CF49802}"/>
          </ac:picMkLst>
        </pc:picChg>
      </pc:sldChg>
    </pc:docChg>
  </pc:docChgLst>
  <pc:docChgLst>
    <pc:chgData name="Prathyusha reddy Midudhula" userId="5bd57edf-abe2-4b63-9242-7af58fe5fd82" providerId="ADAL" clId="{018E540F-622A-4113-A3D6-8C7169567260}"/>
    <pc:docChg chg="undo custSel addSld delSld modSld addMainMaster delMainMaster">
      <pc:chgData name="Prathyusha reddy Midudhula" userId="5bd57edf-abe2-4b63-9242-7af58fe5fd82" providerId="ADAL" clId="{018E540F-622A-4113-A3D6-8C7169567260}" dt="2024-04-06T03:38:44.048" v="76" actId="170"/>
      <pc:docMkLst>
        <pc:docMk/>
      </pc:docMkLst>
      <pc:sldChg chg="del">
        <pc:chgData name="Prathyusha reddy Midudhula" userId="5bd57edf-abe2-4b63-9242-7af58fe5fd82" providerId="ADAL" clId="{018E540F-622A-4113-A3D6-8C7169567260}" dt="2024-04-06T03:15:43.138" v="57" actId="47"/>
        <pc:sldMkLst>
          <pc:docMk/>
          <pc:sldMk cId="0" sldId="256"/>
        </pc:sldMkLst>
      </pc:sldChg>
      <pc:sldChg chg="del">
        <pc:chgData name="Prathyusha reddy Midudhula" userId="5bd57edf-abe2-4b63-9242-7af58fe5fd82" providerId="ADAL" clId="{018E540F-622A-4113-A3D6-8C7169567260}" dt="2024-04-06T03:15:43.138" v="57" actId="47"/>
        <pc:sldMkLst>
          <pc:docMk/>
          <pc:sldMk cId="1501710035" sldId="257"/>
        </pc:sldMkLst>
      </pc:sldChg>
      <pc:sldChg chg="del">
        <pc:chgData name="Prathyusha reddy Midudhula" userId="5bd57edf-abe2-4b63-9242-7af58fe5fd82" providerId="ADAL" clId="{018E540F-622A-4113-A3D6-8C7169567260}" dt="2024-04-06T03:15:43.138" v="57" actId="47"/>
        <pc:sldMkLst>
          <pc:docMk/>
          <pc:sldMk cId="3486536797" sldId="258"/>
        </pc:sldMkLst>
      </pc:sldChg>
      <pc:sldChg chg="del">
        <pc:chgData name="Prathyusha reddy Midudhula" userId="5bd57edf-abe2-4b63-9242-7af58fe5fd82" providerId="ADAL" clId="{018E540F-622A-4113-A3D6-8C7169567260}" dt="2024-04-06T03:15:43.138" v="57" actId="47"/>
        <pc:sldMkLst>
          <pc:docMk/>
          <pc:sldMk cId="587836315" sldId="259"/>
        </pc:sldMkLst>
      </pc:sldChg>
      <pc:sldChg chg="add del">
        <pc:chgData name="Prathyusha reddy Midudhula" userId="5bd57edf-abe2-4b63-9242-7af58fe5fd82" providerId="ADAL" clId="{018E540F-622A-4113-A3D6-8C7169567260}" dt="2024-04-06T03:16:02.310" v="67" actId="47"/>
        <pc:sldMkLst>
          <pc:docMk/>
          <pc:sldMk cId="4197955215" sldId="284"/>
        </pc:sldMkLst>
      </pc:sldChg>
      <pc:sldChg chg="del">
        <pc:chgData name="Prathyusha reddy Midudhula" userId="5bd57edf-abe2-4b63-9242-7af58fe5fd82" providerId="ADAL" clId="{018E540F-622A-4113-A3D6-8C7169567260}" dt="2024-04-06T03:15:43.138" v="57" actId="47"/>
        <pc:sldMkLst>
          <pc:docMk/>
          <pc:sldMk cId="3836485395" sldId="289"/>
        </pc:sldMkLst>
      </pc:sldChg>
      <pc:sldChg chg="del">
        <pc:chgData name="Prathyusha reddy Midudhula" userId="5bd57edf-abe2-4b63-9242-7af58fe5fd82" providerId="ADAL" clId="{018E540F-622A-4113-A3D6-8C7169567260}" dt="2024-04-06T03:15:45.136" v="58" actId="47"/>
        <pc:sldMkLst>
          <pc:docMk/>
          <pc:sldMk cId="2313829355" sldId="290"/>
        </pc:sldMkLst>
      </pc:sldChg>
      <pc:sldChg chg="del">
        <pc:chgData name="Prathyusha reddy Midudhula" userId="5bd57edf-abe2-4b63-9242-7af58fe5fd82" providerId="ADAL" clId="{018E540F-622A-4113-A3D6-8C7169567260}" dt="2024-04-06T03:15:45.755" v="59" actId="47"/>
        <pc:sldMkLst>
          <pc:docMk/>
          <pc:sldMk cId="2234949474" sldId="291"/>
        </pc:sldMkLst>
      </pc:sldChg>
      <pc:sldChg chg="del">
        <pc:chgData name="Prathyusha reddy Midudhula" userId="5bd57edf-abe2-4b63-9242-7af58fe5fd82" providerId="ADAL" clId="{018E540F-622A-4113-A3D6-8C7169567260}" dt="2024-04-06T03:15:46.337" v="60" actId="47"/>
        <pc:sldMkLst>
          <pc:docMk/>
          <pc:sldMk cId="1621701870" sldId="292"/>
        </pc:sldMkLst>
      </pc:sldChg>
      <pc:sldChg chg="del">
        <pc:chgData name="Prathyusha reddy Midudhula" userId="5bd57edf-abe2-4b63-9242-7af58fe5fd82" providerId="ADAL" clId="{018E540F-622A-4113-A3D6-8C7169567260}" dt="2024-04-06T03:15:43.138" v="57" actId="47"/>
        <pc:sldMkLst>
          <pc:docMk/>
          <pc:sldMk cId="1056162311" sldId="293"/>
        </pc:sldMkLst>
      </pc:sldChg>
      <pc:sldChg chg="modSp add del mod">
        <pc:chgData name="Prathyusha reddy Midudhula" userId="5bd57edf-abe2-4b63-9242-7af58fe5fd82" providerId="ADAL" clId="{018E540F-622A-4113-A3D6-8C7169567260}" dt="2024-04-06T03:38:44.048" v="76" actId="170"/>
        <pc:sldMkLst>
          <pc:docMk/>
          <pc:sldMk cId="2883538080" sldId="294"/>
        </pc:sldMkLst>
        <pc:picChg chg="ord">
          <ac:chgData name="Prathyusha reddy Midudhula" userId="5bd57edf-abe2-4b63-9242-7af58fe5fd82" providerId="ADAL" clId="{018E540F-622A-4113-A3D6-8C7169567260}" dt="2024-04-06T03:38:44.048" v="76" actId="170"/>
          <ac:picMkLst>
            <pc:docMk/>
            <pc:sldMk cId="2883538080" sldId="294"/>
            <ac:picMk id="72" creationId="{245DC8A0-56F8-A6A0-6DB9-B0DD5CF49802}"/>
          </ac:picMkLst>
        </pc:picChg>
      </pc:sldChg>
      <pc:sldChg chg="del">
        <pc:chgData name="Prathyusha reddy Midudhula" userId="5bd57edf-abe2-4b63-9242-7af58fe5fd82" providerId="ADAL" clId="{018E540F-622A-4113-A3D6-8C7169567260}" dt="2024-04-06T03:16:08.927" v="73" actId="47"/>
        <pc:sldMkLst>
          <pc:docMk/>
          <pc:sldMk cId="696494857" sldId="295"/>
        </pc:sldMkLst>
      </pc:sldChg>
      <pc:sldChg chg="del">
        <pc:chgData name="Prathyusha reddy Midudhula" userId="5bd57edf-abe2-4b63-9242-7af58fe5fd82" providerId="ADAL" clId="{018E540F-622A-4113-A3D6-8C7169567260}" dt="2024-04-06T03:16:06.653" v="68" actId="47"/>
        <pc:sldMkLst>
          <pc:docMk/>
          <pc:sldMk cId="3929820253" sldId="296"/>
        </pc:sldMkLst>
      </pc:sldChg>
      <pc:sldChg chg="del">
        <pc:chgData name="Prathyusha reddy Midudhula" userId="5bd57edf-abe2-4b63-9242-7af58fe5fd82" providerId="ADAL" clId="{018E540F-622A-4113-A3D6-8C7169567260}" dt="2024-04-06T03:16:06.899" v="69" actId="47"/>
        <pc:sldMkLst>
          <pc:docMk/>
          <pc:sldMk cId="1719829871" sldId="297"/>
        </pc:sldMkLst>
      </pc:sldChg>
      <pc:sldChg chg="del">
        <pc:chgData name="Prathyusha reddy Midudhula" userId="5bd57edf-abe2-4b63-9242-7af58fe5fd82" providerId="ADAL" clId="{018E540F-622A-4113-A3D6-8C7169567260}" dt="2024-04-06T03:16:07.668" v="70" actId="47"/>
        <pc:sldMkLst>
          <pc:docMk/>
          <pc:sldMk cId="2102328602" sldId="298"/>
        </pc:sldMkLst>
      </pc:sldChg>
      <pc:sldChg chg="del">
        <pc:chgData name="Prathyusha reddy Midudhula" userId="5bd57edf-abe2-4b63-9242-7af58fe5fd82" providerId="ADAL" clId="{018E540F-622A-4113-A3D6-8C7169567260}" dt="2024-04-06T03:16:08.075" v="71" actId="47"/>
        <pc:sldMkLst>
          <pc:docMk/>
          <pc:sldMk cId="3622594882" sldId="299"/>
        </pc:sldMkLst>
      </pc:sldChg>
      <pc:sldChg chg="del">
        <pc:chgData name="Prathyusha reddy Midudhula" userId="5bd57edf-abe2-4b63-9242-7af58fe5fd82" providerId="ADAL" clId="{018E540F-622A-4113-A3D6-8C7169567260}" dt="2024-04-06T03:16:08.693" v="72" actId="47"/>
        <pc:sldMkLst>
          <pc:docMk/>
          <pc:sldMk cId="2725731433" sldId="300"/>
        </pc:sldMkLst>
      </pc:sldChg>
      <pc:sldChg chg="addSp delSp modSp mod modTransition modAnim modNotesTx">
        <pc:chgData name="Prathyusha reddy Midudhula" userId="5bd57edf-abe2-4b63-9242-7af58fe5fd82" providerId="ADAL" clId="{018E540F-622A-4113-A3D6-8C7169567260}" dt="2024-04-05T16:28:39.047" v="56" actId="11530"/>
        <pc:sldMkLst>
          <pc:docMk/>
          <pc:sldMk cId="3580028020" sldId="304"/>
        </pc:sldMkLst>
        <pc:picChg chg="add del mod">
          <ac:chgData name="Prathyusha reddy Midudhula" userId="5bd57edf-abe2-4b63-9242-7af58fe5fd82" providerId="ADAL" clId="{018E540F-622A-4113-A3D6-8C7169567260}" dt="2024-04-05T02:02:31.076" v="2"/>
          <ac:picMkLst>
            <pc:docMk/>
            <pc:sldMk cId="3580028020" sldId="304"/>
            <ac:picMk id="4" creationId="{2966B868-D9B2-0D13-27B4-6031B99BFA86}"/>
          </ac:picMkLst>
        </pc:picChg>
        <pc:picChg chg="add del mod">
          <ac:chgData name="Prathyusha reddy Midudhula" userId="5bd57edf-abe2-4b63-9242-7af58fe5fd82" providerId="ADAL" clId="{018E540F-622A-4113-A3D6-8C7169567260}" dt="2024-04-05T15:16:51.845" v="5"/>
          <ac:picMkLst>
            <pc:docMk/>
            <pc:sldMk cId="3580028020" sldId="304"/>
            <ac:picMk id="46" creationId="{A26CB8FE-07E9-2963-E0EF-B7087C607682}"/>
          </ac:picMkLst>
        </pc:picChg>
        <pc:picChg chg="add del mod">
          <ac:chgData name="Prathyusha reddy Midudhula" userId="5bd57edf-abe2-4b63-9242-7af58fe5fd82" providerId="ADAL" clId="{018E540F-622A-4113-A3D6-8C7169567260}" dt="2024-04-05T15:20:32.558" v="10"/>
          <ac:picMkLst>
            <pc:docMk/>
            <pc:sldMk cId="3580028020" sldId="304"/>
            <ac:picMk id="72" creationId="{2E30F55B-A4C7-AAC6-82C6-1EF911E435A4}"/>
          </ac:picMkLst>
        </pc:picChg>
        <pc:picChg chg="add del mod">
          <ac:chgData name="Prathyusha reddy Midudhula" userId="5bd57edf-abe2-4b63-9242-7af58fe5fd82" providerId="ADAL" clId="{018E540F-622A-4113-A3D6-8C7169567260}" dt="2024-04-05T15:30:42.296" v="12"/>
          <ac:picMkLst>
            <pc:docMk/>
            <pc:sldMk cId="3580028020" sldId="304"/>
            <ac:picMk id="73" creationId="{1BEFDB6F-AC5B-17F2-43B4-C363B36FCDFD}"/>
          </ac:picMkLst>
        </pc:picChg>
        <pc:picChg chg="add del mod">
          <ac:chgData name="Prathyusha reddy Midudhula" userId="5bd57edf-abe2-4b63-9242-7af58fe5fd82" providerId="ADAL" clId="{018E540F-622A-4113-A3D6-8C7169567260}" dt="2024-04-05T15:31:23.575" v="14"/>
          <ac:picMkLst>
            <pc:docMk/>
            <pc:sldMk cId="3580028020" sldId="304"/>
            <ac:picMk id="77" creationId="{50B1FE36-1DCE-8DA9-E873-658D5495A815}"/>
          </ac:picMkLst>
        </pc:picChg>
        <pc:picChg chg="add del mod">
          <ac:chgData name="Prathyusha reddy Midudhula" userId="5bd57edf-abe2-4b63-9242-7af58fe5fd82" providerId="ADAL" clId="{018E540F-622A-4113-A3D6-8C7169567260}" dt="2024-04-05T16:17:26.551" v="16"/>
          <ac:picMkLst>
            <pc:docMk/>
            <pc:sldMk cId="3580028020" sldId="304"/>
            <ac:picMk id="86" creationId="{81AF5AE3-F78A-A81A-3B14-1F4F03390B63}"/>
          </ac:picMkLst>
        </pc:picChg>
        <pc:picChg chg="add del mod">
          <ac:chgData name="Prathyusha reddy Midudhula" userId="5bd57edf-abe2-4b63-9242-7af58fe5fd82" providerId="ADAL" clId="{018E540F-622A-4113-A3D6-8C7169567260}" dt="2024-04-05T16:19:24.041" v="19"/>
          <ac:picMkLst>
            <pc:docMk/>
            <pc:sldMk cId="3580028020" sldId="304"/>
            <ac:picMk id="89" creationId="{2A05CD03-0681-9433-AFE2-E5A8DD109537}"/>
          </ac:picMkLst>
        </pc:picChg>
        <pc:picChg chg="add mod">
          <ac:chgData name="Prathyusha reddy Midudhula" userId="5bd57edf-abe2-4b63-9242-7af58fe5fd82" providerId="ADAL" clId="{018E540F-622A-4113-A3D6-8C7169567260}" dt="2024-04-05T16:28:39.047" v="56" actId="11530"/>
          <ac:picMkLst>
            <pc:docMk/>
            <pc:sldMk cId="3580028020" sldId="304"/>
            <ac:picMk id="126" creationId="{B9EBDA8C-EA87-6B12-B7FF-93DC0389742D}"/>
          </ac:picMkLst>
        </pc:picChg>
      </pc:sldChg>
      <pc:sldChg chg="add del">
        <pc:chgData name="Prathyusha reddy Midudhula" userId="5bd57edf-abe2-4b63-9242-7af58fe5fd82" providerId="ADAL" clId="{018E540F-622A-4113-A3D6-8C7169567260}" dt="2024-04-06T03:15:52.783" v="64" actId="47"/>
        <pc:sldMkLst>
          <pc:docMk/>
          <pc:sldMk cId="2355448305" sldId="305"/>
        </pc:sldMkLst>
      </pc:sldChg>
      <pc:sldChg chg="add del">
        <pc:chgData name="Prathyusha reddy Midudhula" userId="5bd57edf-abe2-4b63-9242-7af58fe5fd82" providerId="ADAL" clId="{018E540F-622A-4113-A3D6-8C7169567260}" dt="2024-04-06T03:16:13.220" v="75" actId="47"/>
        <pc:sldMkLst>
          <pc:docMk/>
          <pc:sldMk cId="2934764307" sldId="308"/>
        </pc:sldMkLst>
      </pc:sldChg>
      <pc:sldMasterChg chg="add del addSldLayout delSldLayout">
        <pc:chgData name="Prathyusha reddy Midudhula" userId="5bd57edf-abe2-4b63-9242-7af58fe5fd82" providerId="ADAL" clId="{018E540F-622A-4113-A3D6-8C7169567260}" dt="2024-04-06T03:16:02.310" v="67" actId="47"/>
        <pc:sldMasterMkLst>
          <pc:docMk/>
          <pc:sldMasterMk cId="3595336832" sldId="2147483708"/>
        </pc:sldMasterMkLst>
        <pc:sldLayoutChg chg="add del">
          <pc:chgData name="Prathyusha reddy Midudhula" userId="5bd57edf-abe2-4b63-9242-7af58fe5fd82" providerId="ADAL" clId="{018E540F-622A-4113-A3D6-8C7169567260}" dt="2024-04-06T03:16:02.310" v="67" actId="47"/>
          <pc:sldLayoutMkLst>
            <pc:docMk/>
            <pc:sldMasterMk cId="3595336832" sldId="2147483708"/>
            <pc:sldLayoutMk cId="2463502173" sldId="2147483709"/>
          </pc:sldLayoutMkLst>
        </pc:sldLayoutChg>
        <pc:sldLayoutChg chg="add del">
          <pc:chgData name="Prathyusha reddy Midudhula" userId="5bd57edf-abe2-4b63-9242-7af58fe5fd82" providerId="ADAL" clId="{018E540F-622A-4113-A3D6-8C7169567260}" dt="2024-04-06T03:16:02.310" v="67" actId="47"/>
          <pc:sldLayoutMkLst>
            <pc:docMk/>
            <pc:sldMasterMk cId="3595336832" sldId="2147483708"/>
            <pc:sldLayoutMk cId="1406754891" sldId="2147483720"/>
          </pc:sldLayoutMkLst>
        </pc:sldLayoutChg>
        <pc:sldLayoutChg chg="add del">
          <pc:chgData name="Prathyusha reddy Midudhula" userId="5bd57edf-abe2-4b63-9242-7af58fe5fd82" providerId="ADAL" clId="{018E540F-622A-4113-A3D6-8C7169567260}" dt="2024-04-06T03:16:02.310" v="67" actId="47"/>
          <pc:sldLayoutMkLst>
            <pc:docMk/>
            <pc:sldMasterMk cId="3595336832" sldId="2147483708"/>
            <pc:sldLayoutMk cId="1815464052" sldId="2147483721"/>
          </pc:sldLayoutMkLst>
        </pc:sldLayoutChg>
        <pc:sldLayoutChg chg="add del">
          <pc:chgData name="Prathyusha reddy Midudhula" userId="5bd57edf-abe2-4b63-9242-7af58fe5fd82" providerId="ADAL" clId="{018E540F-622A-4113-A3D6-8C7169567260}" dt="2024-04-06T03:16:02.310" v="67" actId="47"/>
          <pc:sldLayoutMkLst>
            <pc:docMk/>
            <pc:sldMasterMk cId="3595336832" sldId="2147483708"/>
            <pc:sldLayoutMk cId="4186258001" sldId="2147483722"/>
          </pc:sldLayoutMkLst>
        </pc:sldLayoutChg>
        <pc:sldLayoutChg chg="add del">
          <pc:chgData name="Prathyusha reddy Midudhula" userId="5bd57edf-abe2-4b63-9242-7af58fe5fd82" providerId="ADAL" clId="{018E540F-622A-4113-A3D6-8C7169567260}" dt="2024-04-06T03:16:02.310" v="67" actId="47"/>
          <pc:sldLayoutMkLst>
            <pc:docMk/>
            <pc:sldMasterMk cId="3595336832" sldId="2147483708"/>
            <pc:sldLayoutMk cId="2707393526" sldId="2147483723"/>
          </pc:sldLayoutMkLst>
        </pc:sldLayoutChg>
        <pc:sldLayoutChg chg="add del">
          <pc:chgData name="Prathyusha reddy Midudhula" userId="5bd57edf-abe2-4b63-9242-7af58fe5fd82" providerId="ADAL" clId="{018E540F-622A-4113-A3D6-8C7169567260}" dt="2024-04-06T03:16:02.310" v="67" actId="47"/>
          <pc:sldLayoutMkLst>
            <pc:docMk/>
            <pc:sldMasterMk cId="3595336832" sldId="2147483708"/>
            <pc:sldLayoutMk cId="69532377" sldId="2147483724"/>
          </pc:sldLayoutMkLst>
        </pc:sldLayoutChg>
        <pc:sldLayoutChg chg="add del">
          <pc:chgData name="Prathyusha reddy Midudhula" userId="5bd57edf-abe2-4b63-9242-7af58fe5fd82" providerId="ADAL" clId="{018E540F-622A-4113-A3D6-8C7169567260}" dt="2024-04-06T03:16:02.310" v="67" actId="47"/>
          <pc:sldLayoutMkLst>
            <pc:docMk/>
            <pc:sldMasterMk cId="3595336832" sldId="2147483708"/>
            <pc:sldLayoutMk cId="1973069908" sldId="2147483725"/>
          </pc:sldLayoutMkLst>
        </pc:sldLayoutChg>
        <pc:sldLayoutChg chg="add del">
          <pc:chgData name="Prathyusha reddy Midudhula" userId="5bd57edf-abe2-4b63-9242-7af58fe5fd82" providerId="ADAL" clId="{018E540F-622A-4113-A3D6-8C7169567260}" dt="2024-04-06T03:16:02.310" v="67" actId="47"/>
          <pc:sldLayoutMkLst>
            <pc:docMk/>
            <pc:sldMasterMk cId="3595336832" sldId="2147483708"/>
            <pc:sldLayoutMk cId="1821989748" sldId="2147483726"/>
          </pc:sldLayoutMkLst>
        </pc:sldLayoutChg>
        <pc:sldLayoutChg chg="add del">
          <pc:chgData name="Prathyusha reddy Midudhula" userId="5bd57edf-abe2-4b63-9242-7af58fe5fd82" providerId="ADAL" clId="{018E540F-622A-4113-A3D6-8C7169567260}" dt="2024-04-06T03:16:02.310" v="67" actId="47"/>
          <pc:sldLayoutMkLst>
            <pc:docMk/>
            <pc:sldMasterMk cId="3595336832" sldId="2147483708"/>
            <pc:sldLayoutMk cId="140828975" sldId="2147483727"/>
          </pc:sldLayoutMkLst>
        </pc:sldLayoutChg>
        <pc:sldLayoutChg chg="add del">
          <pc:chgData name="Prathyusha reddy Midudhula" userId="5bd57edf-abe2-4b63-9242-7af58fe5fd82" providerId="ADAL" clId="{018E540F-622A-4113-A3D6-8C7169567260}" dt="2024-04-06T03:16:02.310" v="67" actId="47"/>
          <pc:sldLayoutMkLst>
            <pc:docMk/>
            <pc:sldMasterMk cId="3595336832" sldId="2147483708"/>
            <pc:sldLayoutMk cId="822941268" sldId="2147483728"/>
          </pc:sldLayoutMkLst>
        </pc:sldLayoutChg>
      </pc:sldMasterChg>
    </pc:docChg>
  </pc:docChgLst>
  <pc:docChgLst>
    <pc:chgData name="Kavyasri Jadala" userId="db687c12-7a26-4519-bac9-b9dc3b56fe08" providerId="ADAL" clId="{5A8A7853-ED56-C94C-8253-E4AED203FB5D}"/>
    <pc:docChg chg="undo redo custSel addSld delSld modSld sldOrd">
      <pc:chgData name="Kavyasri Jadala" userId="db687c12-7a26-4519-bac9-b9dc3b56fe08" providerId="ADAL" clId="{5A8A7853-ED56-C94C-8253-E4AED203FB5D}" dt="2024-04-06T01:53:15.105" v="430" actId="1076"/>
      <pc:docMkLst>
        <pc:docMk/>
      </pc:docMkLst>
      <pc:sldChg chg="mod modShow">
        <pc:chgData name="Kavyasri Jadala" userId="db687c12-7a26-4519-bac9-b9dc3b56fe08" providerId="ADAL" clId="{5A8A7853-ED56-C94C-8253-E4AED203FB5D}" dt="2024-04-05T01:30:47.573" v="3" actId="729"/>
        <pc:sldMkLst>
          <pc:docMk/>
          <pc:sldMk cId="0" sldId="256"/>
        </pc:sldMkLst>
      </pc:sldChg>
      <pc:sldChg chg="mod modShow">
        <pc:chgData name="Kavyasri Jadala" userId="db687c12-7a26-4519-bac9-b9dc3b56fe08" providerId="ADAL" clId="{5A8A7853-ED56-C94C-8253-E4AED203FB5D}" dt="2024-04-05T01:30:52.529" v="4" actId="729"/>
        <pc:sldMkLst>
          <pc:docMk/>
          <pc:sldMk cId="1501710035" sldId="257"/>
        </pc:sldMkLst>
      </pc:sldChg>
      <pc:sldChg chg="mod modShow">
        <pc:chgData name="Kavyasri Jadala" userId="db687c12-7a26-4519-bac9-b9dc3b56fe08" providerId="ADAL" clId="{5A8A7853-ED56-C94C-8253-E4AED203FB5D}" dt="2024-04-05T01:30:43.127" v="2" actId="729"/>
        <pc:sldMkLst>
          <pc:docMk/>
          <pc:sldMk cId="587836315" sldId="259"/>
        </pc:sldMkLst>
      </pc:sldChg>
      <pc:sldChg chg="addSp delSp modSp mod">
        <pc:chgData name="Kavyasri Jadala" userId="db687c12-7a26-4519-bac9-b9dc3b56fe08" providerId="ADAL" clId="{5A8A7853-ED56-C94C-8253-E4AED203FB5D}" dt="2024-04-05T19:50:35.727" v="24"/>
        <pc:sldMkLst>
          <pc:docMk/>
          <pc:sldMk cId="2883538080" sldId="294"/>
        </pc:sldMkLst>
        <pc:spChg chg="mod">
          <ac:chgData name="Kavyasri Jadala" userId="db687c12-7a26-4519-bac9-b9dc3b56fe08" providerId="ADAL" clId="{5A8A7853-ED56-C94C-8253-E4AED203FB5D}" dt="2024-04-05T01:31:52.943" v="5" actId="14100"/>
          <ac:spMkLst>
            <pc:docMk/>
            <pc:sldMk cId="2883538080" sldId="294"/>
            <ac:spMk id="31" creationId="{ED9C24BE-4BC6-F60D-331A-C81006ACDABE}"/>
          </ac:spMkLst>
        </pc:spChg>
        <pc:spChg chg="mod">
          <ac:chgData name="Kavyasri Jadala" userId="db687c12-7a26-4519-bac9-b9dc3b56fe08" providerId="ADAL" clId="{5A8A7853-ED56-C94C-8253-E4AED203FB5D}" dt="2024-04-05T01:32:11.874" v="8" actId="14100"/>
          <ac:spMkLst>
            <pc:docMk/>
            <pc:sldMk cId="2883538080" sldId="294"/>
            <ac:spMk id="35" creationId="{BA1BD031-B125-DEF1-F5F7-9BCE821658BD}"/>
          </ac:spMkLst>
        </pc:spChg>
        <pc:picChg chg="add mod">
          <ac:chgData name="Kavyasri Jadala" userId="db687c12-7a26-4519-bac9-b9dc3b56fe08" providerId="ADAL" clId="{5A8A7853-ED56-C94C-8253-E4AED203FB5D}" dt="2024-04-05T01:25:17.796" v="1" actId="1076"/>
          <ac:picMkLst>
            <pc:docMk/>
            <pc:sldMk cId="2883538080" sldId="294"/>
            <ac:picMk id="4" creationId="{73E3BA17-FF2A-C333-EB7E-55CD7210CDEF}"/>
          </ac:picMkLst>
        </pc:picChg>
        <pc:picChg chg="add mod">
          <ac:chgData name="Kavyasri Jadala" userId="db687c12-7a26-4519-bac9-b9dc3b56fe08" providerId="ADAL" clId="{5A8A7853-ED56-C94C-8253-E4AED203FB5D}" dt="2024-04-05T19:50:35.727" v="24"/>
          <ac:picMkLst>
            <pc:docMk/>
            <pc:sldMk cId="2883538080" sldId="294"/>
            <ac:picMk id="4" creationId="{E4E1194E-83A3-B33A-93ED-E6CE3F9B9774}"/>
          </ac:picMkLst>
        </pc:picChg>
        <pc:picChg chg="del">
          <ac:chgData name="Kavyasri Jadala" userId="db687c12-7a26-4519-bac9-b9dc3b56fe08" providerId="ADAL" clId="{5A8A7853-ED56-C94C-8253-E4AED203FB5D}" dt="2024-04-05T19:50:34.618" v="23" actId="478"/>
          <ac:picMkLst>
            <pc:docMk/>
            <pc:sldMk cId="2883538080" sldId="294"/>
            <ac:picMk id="28" creationId="{23DAFB41-860F-90BE-B69F-C00E2238D68D}"/>
          </ac:picMkLst>
        </pc:picChg>
      </pc:sldChg>
      <pc:sldChg chg="addSp delSp modSp mod">
        <pc:chgData name="Kavyasri Jadala" userId="db687c12-7a26-4519-bac9-b9dc3b56fe08" providerId="ADAL" clId="{5A8A7853-ED56-C94C-8253-E4AED203FB5D}" dt="2024-04-06T01:51:06.762" v="414" actId="14100"/>
        <pc:sldMkLst>
          <pc:docMk/>
          <pc:sldMk cId="2277792554" sldId="301"/>
        </pc:sldMkLst>
        <pc:spChg chg="mod">
          <ac:chgData name="Kavyasri Jadala" userId="db687c12-7a26-4519-bac9-b9dc3b56fe08" providerId="ADAL" clId="{5A8A7853-ED56-C94C-8253-E4AED203FB5D}" dt="2024-04-06T01:51:06.762" v="414" actId="14100"/>
          <ac:spMkLst>
            <pc:docMk/>
            <pc:sldMk cId="2277792554" sldId="301"/>
            <ac:spMk id="85" creationId="{3422CE73-97DC-84F4-E927-7D4C0A046BC6}"/>
          </ac:spMkLst>
        </pc:spChg>
        <pc:picChg chg="del">
          <ac:chgData name="Kavyasri Jadala" userId="db687c12-7a26-4519-bac9-b9dc3b56fe08" providerId="ADAL" clId="{5A8A7853-ED56-C94C-8253-E4AED203FB5D}" dt="2024-04-05T19:50:08.064" v="15" actId="478"/>
          <ac:picMkLst>
            <pc:docMk/>
            <pc:sldMk cId="2277792554" sldId="301"/>
            <ac:picMk id="28" creationId="{23DAFB41-860F-90BE-B69F-C00E2238D68D}"/>
          </ac:picMkLst>
        </pc:picChg>
        <pc:picChg chg="add mod">
          <ac:chgData name="Kavyasri Jadala" userId="db687c12-7a26-4519-bac9-b9dc3b56fe08" providerId="ADAL" clId="{5A8A7853-ED56-C94C-8253-E4AED203FB5D}" dt="2024-04-05T19:50:28.782" v="22" actId="1076"/>
          <ac:picMkLst>
            <pc:docMk/>
            <pc:sldMk cId="2277792554" sldId="301"/>
            <ac:picMk id="46" creationId="{13EF8560-A814-C687-55FB-891FA0A3259D}"/>
          </ac:picMkLst>
        </pc:picChg>
        <pc:picChg chg="mod">
          <ac:chgData name="Kavyasri Jadala" userId="db687c12-7a26-4519-bac9-b9dc3b56fe08" providerId="ADAL" clId="{5A8A7853-ED56-C94C-8253-E4AED203FB5D}" dt="2024-04-06T01:51:00.239" v="413" actId="1076"/>
          <ac:picMkLst>
            <pc:docMk/>
            <pc:sldMk cId="2277792554" sldId="301"/>
            <ac:picMk id="49" creationId="{57BE205B-654D-21B7-5B42-36F7BB1EC16E}"/>
          </ac:picMkLst>
        </pc:picChg>
      </pc:sldChg>
      <pc:sldChg chg="addSp delSp modSp del mod">
        <pc:chgData name="Kavyasri Jadala" userId="db687c12-7a26-4519-bac9-b9dc3b56fe08" providerId="ADAL" clId="{5A8A7853-ED56-C94C-8253-E4AED203FB5D}" dt="2024-04-06T01:47:52.323" v="408" actId="2696"/>
        <pc:sldMkLst>
          <pc:docMk/>
          <pc:sldMk cId="2928195632" sldId="302"/>
        </pc:sldMkLst>
        <pc:picChg chg="add mod">
          <ac:chgData name="Kavyasri Jadala" userId="db687c12-7a26-4519-bac9-b9dc3b56fe08" providerId="ADAL" clId="{5A8A7853-ED56-C94C-8253-E4AED203FB5D}" dt="2024-04-05T19:50:52.121" v="26"/>
          <ac:picMkLst>
            <pc:docMk/>
            <pc:sldMk cId="2928195632" sldId="302"/>
            <ac:picMk id="4" creationId="{87EE683C-FE6C-1269-F2A4-E2324982709F}"/>
          </ac:picMkLst>
        </pc:picChg>
        <pc:picChg chg="del">
          <ac:chgData name="Kavyasri Jadala" userId="db687c12-7a26-4519-bac9-b9dc3b56fe08" providerId="ADAL" clId="{5A8A7853-ED56-C94C-8253-E4AED203FB5D}" dt="2024-04-05T19:50:51.249" v="25" actId="478"/>
          <ac:picMkLst>
            <pc:docMk/>
            <pc:sldMk cId="2928195632" sldId="302"/>
            <ac:picMk id="28" creationId="{23DAFB41-860F-90BE-B69F-C00E2238D68D}"/>
          </ac:picMkLst>
        </pc:picChg>
      </pc:sldChg>
      <pc:sldChg chg="addSp delSp modSp del mod">
        <pc:chgData name="Kavyasri Jadala" userId="db687c12-7a26-4519-bac9-b9dc3b56fe08" providerId="ADAL" clId="{5A8A7853-ED56-C94C-8253-E4AED203FB5D}" dt="2024-04-06T01:47:49.424" v="407" actId="2696"/>
        <pc:sldMkLst>
          <pc:docMk/>
          <pc:sldMk cId="3992522977" sldId="303"/>
        </pc:sldMkLst>
        <pc:graphicFrameChg chg="add del mod modGraphic">
          <ac:chgData name="Kavyasri Jadala" userId="db687c12-7a26-4519-bac9-b9dc3b56fe08" providerId="ADAL" clId="{5A8A7853-ED56-C94C-8253-E4AED203FB5D}" dt="2024-04-05T19:44:34.057" v="12" actId="478"/>
          <ac:graphicFrameMkLst>
            <pc:docMk/>
            <pc:sldMk cId="3992522977" sldId="303"/>
            <ac:graphicFrameMk id="46" creationId="{E7581E5F-5B7E-0607-8420-4EAF0A6E46E0}"/>
          </ac:graphicFrameMkLst>
        </pc:graphicFrameChg>
        <pc:picChg chg="add mod">
          <ac:chgData name="Kavyasri Jadala" userId="db687c12-7a26-4519-bac9-b9dc3b56fe08" providerId="ADAL" clId="{5A8A7853-ED56-C94C-8253-E4AED203FB5D}" dt="2024-04-05T19:50:57.581" v="28"/>
          <ac:picMkLst>
            <pc:docMk/>
            <pc:sldMk cId="3992522977" sldId="303"/>
            <ac:picMk id="4" creationId="{D835D9A4-67CD-B383-ADA3-A043FD7D9846}"/>
          </ac:picMkLst>
        </pc:picChg>
        <pc:picChg chg="del">
          <ac:chgData name="Kavyasri Jadala" userId="db687c12-7a26-4519-bac9-b9dc3b56fe08" providerId="ADAL" clId="{5A8A7853-ED56-C94C-8253-E4AED203FB5D}" dt="2024-04-05T19:50:56.816" v="27" actId="478"/>
          <ac:picMkLst>
            <pc:docMk/>
            <pc:sldMk cId="3992522977" sldId="303"/>
            <ac:picMk id="28" creationId="{23DAFB41-860F-90BE-B69F-C00E2238D68D}"/>
          </ac:picMkLst>
        </pc:picChg>
      </pc:sldChg>
      <pc:sldChg chg="addSp delSp modSp mod">
        <pc:chgData name="Kavyasri Jadala" userId="db687c12-7a26-4519-bac9-b9dc3b56fe08" providerId="ADAL" clId="{5A8A7853-ED56-C94C-8253-E4AED203FB5D}" dt="2024-04-05T19:58:23.280" v="39" actId="1076"/>
        <pc:sldMkLst>
          <pc:docMk/>
          <pc:sldMk cId="3580028020" sldId="304"/>
        </pc:sldMkLst>
        <pc:picChg chg="add del mod">
          <ac:chgData name="Kavyasri Jadala" userId="db687c12-7a26-4519-bac9-b9dc3b56fe08" providerId="ADAL" clId="{5A8A7853-ED56-C94C-8253-E4AED203FB5D}" dt="2024-04-05T19:51:09.366" v="33"/>
          <ac:picMkLst>
            <pc:docMk/>
            <pc:sldMk cId="3580028020" sldId="304"/>
            <ac:picMk id="4" creationId="{F749C9AA-791D-7C14-C791-DD7A569626DC}"/>
          </ac:picMkLst>
        </pc:picChg>
        <pc:picChg chg="del">
          <ac:chgData name="Kavyasri Jadala" userId="db687c12-7a26-4519-bac9-b9dc3b56fe08" providerId="ADAL" clId="{5A8A7853-ED56-C94C-8253-E4AED203FB5D}" dt="2024-04-05T19:51:10.412" v="34" actId="478"/>
          <ac:picMkLst>
            <pc:docMk/>
            <pc:sldMk cId="3580028020" sldId="304"/>
            <ac:picMk id="28" creationId="{23DAFB41-860F-90BE-B69F-C00E2238D68D}"/>
          </ac:picMkLst>
        </pc:picChg>
        <pc:picChg chg="add mod">
          <ac:chgData name="Kavyasri Jadala" userId="db687c12-7a26-4519-bac9-b9dc3b56fe08" providerId="ADAL" clId="{5A8A7853-ED56-C94C-8253-E4AED203FB5D}" dt="2024-04-05T19:51:11.225" v="35"/>
          <ac:picMkLst>
            <pc:docMk/>
            <pc:sldMk cId="3580028020" sldId="304"/>
            <ac:picMk id="46" creationId="{C7BEAC03-B0CA-B96B-B28D-2BCCF042AE09}"/>
          </ac:picMkLst>
        </pc:picChg>
        <pc:picChg chg="mod">
          <ac:chgData name="Kavyasri Jadala" userId="db687c12-7a26-4519-bac9-b9dc3b56fe08" providerId="ADAL" clId="{5A8A7853-ED56-C94C-8253-E4AED203FB5D}" dt="2024-04-05T19:58:23.280" v="39" actId="1076"/>
          <ac:picMkLst>
            <pc:docMk/>
            <pc:sldMk cId="3580028020" sldId="304"/>
            <ac:picMk id="126" creationId="{B9EBDA8C-EA87-6B12-B7FF-93DC0389742D}"/>
          </ac:picMkLst>
        </pc:picChg>
      </pc:sldChg>
      <pc:sldChg chg="modSp mod">
        <pc:chgData name="Kavyasri Jadala" userId="db687c12-7a26-4519-bac9-b9dc3b56fe08" providerId="ADAL" clId="{5A8A7853-ED56-C94C-8253-E4AED203FB5D}" dt="2024-04-06T01:52:33.920" v="422" actId="1076"/>
        <pc:sldMkLst>
          <pc:docMk/>
          <pc:sldMk cId="2355448305" sldId="305"/>
        </pc:sldMkLst>
        <pc:picChg chg="mod">
          <ac:chgData name="Kavyasri Jadala" userId="db687c12-7a26-4519-bac9-b9dc3b56fe08" providerId="ADAL" clId="{5A8A7853-ED56-C94C-8253-E4AED203FB5D}" dt="2024-04-06T01:52:33.920" v="422" actId="1076"/>
          <ac:picMkLst>
            <pc:docMk/>
            <pc:sldMk cId="2355448305" sldId="305"/>
            <ac:picMk id="5" creationId="{C5D22AEC-373A-C598-D61E-77C6AF72E0D5}"/>
          </ac:picMkLst>
        </pc:picChg>
      </pc:sldChg>
      <pc:sldChg chg="addSp delSp modSp add del mod">
        <pc:chgData name="Kavyasri Jadala" userId="db687c12-7a26-4519-bac9-b9dc3b56fe08" providerId="ADAL" clId="{5A8A7853-ED56-C94C-8253-E4AED203FB5D}" dt="2024-04-06T01:47:45.514" v="405" actId="2696"/>
        <pc:sldMkLst>
          <pc:docMk/>
          <pc:sldMk cId="1705667065" sldId="306"/>
        </pc:sldMkLst>
        <pc:spChg chg="mod">
          <ac:chgData name="Kavyasri Jadala" userId="db687c12-7a26-4519-bac9-b9dc3b56fe08" providerId="ADAL" clId="{5A8A7853-ED56-C94C-8253-E4AED203FB5D}" dt="2024-04-05T23:49:38.969" v="53" actId="1076"/>
          <ac:spMkLst>
            <pc:docMk/>
            <pc:sldMk cId="1705667065" sldId="306"/>
            <ac:spMk id="45" creationId="{FA7F81D2-A90C-178D-CA5B-7F578ABC355F}"/>
          </ac:spMkLst>
        </pc:spChg>
        <pc:spChg chg="mod">
          <ac:chgData name="Kavyasri Jadala" userId="db687c12-7a26-4519-bac9-b9dc3b56fe08" providerId="ADAL" clId="{5A8A7853-ED56-C94C-8253-E4AED203FB5D}" dt="2024-04-05T23:59:49.604" v="161" actId="164"/>
          <ac:spMkLst>
            <pc:docMk/>
            <pc:sldMk cId="1705667065" sldId="306"/>
            <ac:spMk id="56" creationId="{4A309222-465D-E30B-1C90-C797E0FA2D05}"/>
          </ac:spMkLst>
        </pc:spChg>
        <pc:spChg chg="mod">
          <ac:chgData name="Kavyasri Jadala" userId="db687c12-7a26-4519-bac9-b9dc3b56fe08" providerId="ADAL" clId="{5A8A7853-ED56-C94C-8253-E4AED203FB5D}" dt="2024-04-05T23:59:49.604" v="161" actId="164"/>
          <ac:spMkLst>
            <pc:docMk/>
            <pc:sldMk cId="1705667065" sldId="306"/>
            <ac:spMk id="82" creationId="{A7F3343E-142A-C776-99F5-15A642E8C3C1}"/>
          </ac:spMkLst>
        </pc:spChg>
        <pc:spChg chg="mod">
          <ac:chgData name="Kavyasri Jadala" userId="db687c12-7a26-4519-bac9-b9dc3b56fe08" providerId="ADAL" clId="{5A8A7853-ED56-C94C-8253-E4AED203FB5D}" dt="2024-04-05T23:59:49.604" v="161" actId="164"/>
          <ac:spMkLst>
            <pc:docMk/>
            <pc:sldMk cId="1705667065" sldId="306"/>
            <ac:spMk id="96" creationId="{65B7C2EE-9535-4802-64A0-004FF02D1679}"/>
          </ac:spMkLst>
        </pc:spChg>
        <pc:grpChg chg="add mod">
          <ac:chgData name="Kavyasri Jadala" userId="db687c12-7a26-4519-bac9-b9dc3b56fe08" providerId="ADAL" clId="{5A8A7853-ED56-C94C-8253-E4AED203FB5D}" dt="2024-04-05T23:59:49.604" v="161" actId="164"/>
          <ac:grpSpMkLst>
            <pc:docMk/>
            <pc:sldMk cId="1705667065" sldId="306"/>
            <ac:grpSpMk id="46" creationId="{B41B3444-7F72-B702-2C3C-39B5E29F79A0}"/>
          </ac:grpSpMkLst>
        </pc:grpChg>
        <pc:picChg chg="add mod">
          <ac:chgData name="Kavyasri Jadala" userId="db687c12-7a26-4519-bac9-b9dc3b56fe08" providerId="ADAL" clId="{5A8A7853-ED56-C94C-8253-E4AED203FB5D}" dt="2024-04-05T19:51:01.817" v="30"/>
          <ac:picMkLst>
            <pc:docMk/>
            <pc:sldMk cId="1705667065" sldId="306"/>
            <ac:picMk id="4" creationId="{7EB4590C-0259-D952-AD45-CFAA1EABB9D3}"/>
          </ac:picMkLst>
        </pc:picChg>
        <pc:picChg chg="del">
          <ac:chgData name="Kavyasri Jadala" userId="db687c12-7a26-4519-bac9-b9dc3b56fe08" providerId="ADAL" clId="{5A8A7853-ED56-C94C-8253-E4AED203FB5D}" dt="2024-04-05T19:51:01.116" v="29" actId="478"/>
          <ac:picMkLst>
            <pc:docMk/>
            <pc:sldMk cId="1705667065" sldId="306"/>
            <ac:picMk id="28" creationId="{23DAFB41-860F-90BE-B69F-C00E2238D68D}"/>
          </ac:picMkLst>
        </pc:picChg>
        <pc:picChg chg="mod">
          <ac:chgData name="Kavyasri Jadala" userId="db687c12-7a26-4519-bac9-b9dc3b56fe08" providerId="ADAL" clId="{5A8A7853-ED56-C94C-8253-E4AED203FB5D}" dt="2024-04-05T23:59:49.604" v="161" actId="164"/>
          <ac:picMkLst>
            <pc:docMk/>
            <pc:sldMk cId="1705667065" sldId="306"/>
            <ac:picMk id="174" creationId="{01D7BA17-B508-767D-28CF-2FEF29926EE2}"/>
          </ac:picMkLst>
        </pc:picChg>
      </pc:sldChg>
      <pc:sldChg chg="add del">
        <pc:chgData name="Kavyasri Jadala" userId="db687c12-7a26-4519-bac9-b9dc3b56fe08" providerId="ADAL" clId="{5A8A7853-ED56-C94C-8253-E4AED203FB5D}" dt="2024-04-06T01:47:48.015" v="406" actId="2696"/>
        <pc:sldMkLst>
          <pc:docMk/>
          <pc:sldMk cId="1062953063" sldId="307"/>
        </pc:sldMkLst>
      </pc:sldChg>
      <pc:sldChg chg="addSp delSp modSp mod">
        <pc:chgData name="Kavyasri Jadala" userId="db687c12-7a26-4519-bac9-b9dc3b56fe08" providerId="ADAL" clId="{5A8A7853-ED56-C94C-8253-E4AED203FB5D}" dt="2024-04-06T01:53:15.105" v="430" actId="1076"/>
        <pc:sldMkLst>
          <pc:docMk/>
          <pc:sldMk cId="2934764307" sldId="308"/>
        </pc:sldMkLst>
        <pc:picChg chg="del">
          <ac:chgData name="Kavyasri Jadala" userId="db687c12-7a26-4519-bac9-b9dc3b56fe08" providerId="ADAL" clId="{5A8A7853-ED56-C94C-8253-E4AED203FB5D}" dt="2024-04-06T01:51:36.635" v="416" actId="478"/>
          <ac:picMkLst>
            <pc:docMk/>
            <pc:sldMk cId="2934764307" sldId="308"/>
            <ac:picMk id="4" creationId="{8F48B7B5-C288-7CBC-8F35-7C48948A0CE0}"/>
          </ac:picMkLst>
        </pc:picChg>
        <pc:picChg chg="mod">
          <ac:chgData name="Kavyasri Jadala" userId="db687c12-7a26-4519-bac9-b9dc3b56fe08" providerId="ADAL" clId="{5A8A7853-ED56-C94C-8253-E4AED203FB5D}" dt="2024-04-06T01:53:13.493" v="429" actId="1076"/>
          <ac:picMkLst>
            <pc:docMk/>
            <pc:sldMk cId="2934764307" sldId="308"/>
            <ac:picMk id="5" creationId="{9BD7F191-A222-4B37-ED3B-8255642DEE80}"/>
          </ac:picMkLst>
        </pc:picChg>
        <pc:picChg chg="add mod">
          <ac:chgData name="Kavyasri Jadala" userId="db687c12-7a26-4519-bac9-b9dc3b56fe08" providerId="ADAL" clId="{5A8A7853-ED56-C94C-8253-E4AED203FB5D}" dt="2024-04-06T01:53:15.105" v="430" actId="1076"/>
          <ac:picMkLst>
            <pc:docMk/>
            <pc:sldMk cId="2934764307" sldId="308"/>
            <ac:picMk id="6" creationId="{435D103A-668E-D032-2DBD-8F3B0ADC6491}"/>
          </ac:picMkLst>
        </pc:picChg>
      </pc:sldChg>
      <pc:sldChg chg="new">
        <pc:chgData name="Kavyasri Jadala" userId="db687c12-7a26-4519-bac9-b9dc3b56fe08" providerId="ADAL" clId="{5A8A7853-ED56-C94C-8253-E4AED203FB5D}" dt="2024-04-05T19:58:36.066" v="40" actId="680"/>
        <pc:sldMkLst>
          <pc:docMk/>
          <pc:sldMk cId="1741545271" sldId="309"/>
        </pc:sldMkLst>
      </pc:sldChg>
      <pc:sldChg chg="addSp modSp del mod">
        <pc:chgData name="Kavyasri Jadala" userId="db687c12-7a26-4519-bac9-b9dc3b56fe08" providerId="ADAL" clId="{5A8A7853-ED56-C94C-8253-E4AED203FB5D}" dt="2024-04-06T01:47:38.014" v="404" actId="2696"/>
        <pc:sldMkLst>
          <pc:docMk/>
          <pc:sldMk cId="1741545271" sldId="310"/>
        </pc:sldMkLst>
        <pc:picChg chg="add mod">
          <ac:chgData name="Kavyasri Jadala" userId="db687c12-7a26-4519-bac9-b9dc3b56fe08" providerId="ADAL" clId="{5A8A7853-ED56-C94C-8253-E4AED203FB5D}" dt="2024-04-05T20:02:27.907" v="49" actId="29295"/>
          <ac:picMkLst>
            <pc:docMk/>
            <pc:sldMk cId="1741545271" sldId="310"/>
            <ac:picMk id="3" creationId="{6563DF79-2429-087E-94BD-2E3A3E1E49F8}"/>
          </ac:picMkLst>
        </pc:picChg>
      </pc:sldChg>
      <pc:sldChg chg="add del">
        <pc:chgData name="Kavyasri Jadala" userId="db687c12-7a26-4519-bac9-b9dc3b56fe08" providerId="ADAL" clId="{5A8A7853-ED56-C94C-8253-E4AED203FB5D}" dt="2024-04-06T01:47:30.427" v="403" actId="2696"/>
        <pc:sldMkLst>
          <pc:docMk/>
          <pc:sldMk cId="3003524312" sldId="311"/>
        </pc:sldMkLst>
      </pc:sldChg>
      <pc:sldChg chg="addSp delSp modSp add mod modTransition delAnim modAnim modNotesTx">
        <pc:chgData name="Kavyasri Jadala" userId="db687c12-7a26-4519-bac9-b9dc3b56fe08" providerId="ADAL" clId="{5A8A7853-ED56-C94C-8253-E4AED203FB5D}" dt="2024-04-06T01:46:54.189" v="401" actId="11530"/>
        <pc:sldMkLst>
          <pc:docMk/>
          <pc:sldMk cId="4013897666" sldId="312"/>
        </pc:sldMkLst>
        <pc:spChg chg="add del mod">
          <ac:chgData name="Kavyasri Jadala" userId="db687c12-7a26-4519-bac9-b9dc3b56fe08" providerId="ADAL" clId="{5A8A7853-ED56-C94C-8253-E4AED203FB5D}" dt="2024-04-05T23:52:42.425" v="75"/>
          <ac:spMkLst>
            <pc:docMk/>
            <pc:sldMk cId="4013897666" sldId="312"/>
            <ac:spMk id="7" creationId="{E7135893-4824-B46D-648C-D7208AC69984}"/>
          </ac:spMkLst>
        </pc:spChg>
        <pc:spChg chg="add del mod">
          <ac:chgData name="Kavyasri Jadala" userId="db687c12-7a26-4519-bac9-b9dc3b56fe08" providerId="ADAL" clId="{5A8A7853-ED56-C94C-8253-E4AED203FB5D}" dt="2024-04-05T23:52:42.425" v="75"/>
          <ac:spMkLst>
            <pc:docMk/>
            <pc:sldMk cId="4013897666" sldId="312"/>
            <ac:spMk id="9" creationId="{5FE7B535-5457-6865-F089-7B314593D28E}"/>
          </ac:spMkLst>
        </pc:spChg>
        <pc:spChg chg="add del mod">
          <ac:chgData name="Kavyasri Jadala" userId="db687c12-7a26-4519-bac9-b9dc3b56fe08" providerId="ADAL" clId="{5A8A7853-ED56-C94C-8253-E4AED203FB5D}" dt="2024-04-05T23:52:42.425" v="75"/>
          <ac:spMkLst>
            <pc:docMk/>
            <pc:sldMk cId="4013897666" sldId="312"/>
            <ac:spMk id="11" creationId="{B8E5FC90-1D04-F153-DCC5-C0FA058A523A}"/>
          </ac:spMkLst>
        </pc:spChg>
        <pc:spChg chg="add del mod">
          <ac:chgData name="Kavyasri Jadala" userId="db687c12-7a26-4519-bac9-b9dc3b56fe08" providerId="ADAL" clId="{5A8A7853-ED56-C94C-8253-E4AED203FB5D}" dt="2024-04-05T23:52:42.425" v="75"/>
          <ac:spMkLst>
            <pc:docMk/>
            <pc:sldMk cId="4013897666" sldId="312"/>
            <ac:spMk id="12" creationId="{19DFA444-43D4-D104-9715-A7C0E1385E67}"/>
          </ac:spMkLst>
        </pc:spChg>
        <pc:spChg chg="add del mod">
          <ac:chgData name="Kavyasri Jadala" userId="db687c12-7a26-4519-bac9-b9dc3b56fe08" providerId="ADAL" clId="{5A8A7853-ED56-C94C-8253-E4AED203FB5D}" dt="2024-04-05T23:52:42.425" v="75"/>
          <ac:spMkLst>
            <pc:docMk/>
            <pc:sldMk cId="4013897666" sldId="312"/>
            <ac:spMk id="13" creationId="{96499A06-353F-D103-0C40-82CC4E8A958C}"/>
          </ac:spMkLst>
        </pc:spChg>
        <pc:spChg chg="add del mod">
          <ac:chgData name="Kavyasri Jadala" userId="db687c12-7a26-4519-bac9-b9dc3b56fe08" providerId="ADAL" clId="{5A8A7853-ED56-C94C-8253-E4AED203FB5D}" dt="2024-04-05T23:52:42.425" v="75"/>
          <ac:spMkLst>
            <pc:docMk/>
            <pc:sldMk cId="4013897666" sldId="312"/>
            <ac:spMk id="15" creationId="{BD87BAC3-9458-4082-DFE0-0E173F274A66}"/>
          </ac:spMkLst>
        </pc:spChg>
        <pc:spChg chg="add mod">
          <ac:chgData name="Kavyasri Jadala" userId="db687c12-7a26-4519-bac9-b9dc3b56fe08" providerId="ADAL" clId="{5A8A7853-ED56-C94C-8253-E4AED203FB5D}" dt="2024-04-06T00:46:24.604" v="376" actId="1076"/>
          <ac:spMkLst>
            <pc:docMk/>
            <pc:sldMk cId="4013897666" sldId="312"/>
            <ac:spMk id="19" creationId="{0F5C4E2B-02B3-3EF4-1DC9-75E0B2B1B8A8}"/>
          </ac:spMkLst>
        </pc:spChg>
        <pc:spChg chg="add mod">
          <ac:chgData name="Kavyasri Jadala" userId="db687c12-7a26-4519-bac9-b9dc3b56fe08" providerId="ADAL" clId="{5A8A7853-ED56-C94C-8253-E4AED203FB5D}" dt="2024-04-06T00:46:24.604" v="376" actId="1076"/>
          <ac:spMkLst>
            <pc:docMk/>
            <pc:sldMk cId="4013897666" sldId="312"/>
            <ac:spMk id="21" creationId="{FA572B3B-A79F-1B57-6843-9D5E72B1B18F}"/>
          </ac:spMkLst>
        </pc:spChg>
        <pc:spChg chg="add mod">
          <ac:chgData name="Kavyasri Jadala" userId="db687c12-7a26-4519-bac9-b9dc3b56fe08" providerId="ADAL" clId="{5A8A7853-ED56-C94C-8253-E4AED203FB5D}" dt="2024-04-06T00:46:24.604" v="376" actId="1076"/>
          <ac:spMkLst>
            <pc:docMk/>
            <pc:sldMk cId="4013897666" sldId="312"/>
            <ac:spMk id="23" creationId="{AEA133DE-166B-D61C-8850-E4BBB137BCD3}"/>
          </ac:spMkLst>
        </pc:spChg>
        <pc:spChg chg="add mod">
          <ac:chgData name="Kavyasri Jadala" userId="db687c12-7a26-4519-bac9-b9dc3b56fe08" providerId="ADAL" clId="{5A8A7853-ED56-C94C-8253-E4AED203FB5D}" dt="2024-04-06T00:46:24.604" v="376" actId="1076"/>
          <ac:spMkLst>
            <pc:docMk/>
            <pc:sldMk cId="4013897666" sldId="312"/>
            <ac:spMk id="24" creationId="{33A5B72A-186F-67F1-9D61-527F425CBBAD}"/>
          </ac:spMkLst>
        </pc:spChg>
        <pc:spChg chg="add mod">
          <ac:chgData name="Kavyasri Jadala" userId="db687c12-7a26-4519-bac9-b9dc3b56fe08" providerId="ADAL" clId="{5A8A7853-ED56-C94C-8253-E4AED203FB5D}" dt="2024-04-06T00:46:24.604" v="376" actId="1076"/>
          <ac:spMkLst>
            <pc:docMk/>
            <pc:sldMk cId="4013897666" sldId="312"/>
            <ac:spMk id="25" creationId="{1EDABA66-DFEA-7EC7-953E-4BB88AE5EC4C}"/>
          </ac:spMkLst>
        </pc:spChg>
        <pc:spChg chg="add mod">
          <ac:chgData name="Kavyasri Jadala" userId="db687c12-7a26-4519-bac9-b9dc3b56fe08" providerId="ADAL" clId="{5A8A7853-ED56-C94C-8253-E4AED203FB5D}" dt="2024-04-06T00:47:05.326" v="382" actId="1076"/>
          <ac:spMkLst>
            <pc:docMk/>
            <pc:sldMk cId="4013897666" sldId="312"/>
            <ac:spMk id="27" creationId="{AA847B08-EED7-B5CF-88FD-B6505E35F38B}"/>
          </ac:spMkLst>
        </pc:spChg>
        <pc:spChg chg="mod">
          <ac:chgData name="Kavyasri Jadala" userId="db687c12-7a26-4519-bac9-b9dc3b56fe08" providerId="ADAL" clId="{5A8A7853-ED56-C94C-8253-E4AED203FB5D}" dt="2024-04-06T00:46:32.316" v="377"/>
          <ac:spMkLst>
            <pc:docMk/>
            <pc:sldMk cId="4013897666" sldId="312"/>
            <ac:spMk id="32" creationId="{32B3EBBB-003B-45D7-DE09-AC877227C188}"/>
          </ac:spMkLst>
        </pc:spChg>
        <pc:spChg chg="mod">
          <ac:chgData name="Kavyasri Jadala" userId="db687c12-7a26-4519-bac9-b9dc3b56fe08" providerId="ADAL" clId="{5A8A7853-ED56-C94C-8253-E4AED203FB5D}" dt="2024-04-06T00:46:32.316" v="377"/>
          <ac:spMkLst>
            <pc:docMk/>
            <pc:sldMk cId="4013897666" sldId="312"/>
            <ac:spMk id="34" creationId="{3BC1ECBB-A4FB-BEA8-9554-28FCAFBAD8BF}"/>
          </ac:spMkLst>
        </pc:spChg>
        <pc:spChg chg="mod">
          <ac:chgData name="Kavyasri Jadala" userId="db687c12-7a26-4519-bac9-b9dc3b56fe08" providerId="ADAL" clId="{5A8A7853-ED56-C94C-8253-E4AED203FB5D}" dt="2024-04-06T00:46:32.316" v="377"/>
          <ac:spMkLst>
            <pc:docMk/>
            <pc:sldMk cId="4013897666" sldId="312"/>
            <ac:spMk id="35" creationId="{F98045AE-DE18-5376-ED12-08F6B7FBA323}"/>
          </ac:spMkLst>
        </pc:spChg>
        <pc:spChg chg="mod">
          <ac:chgData name="Kavyasri Jadala" userId="db687c12-7a26-4519-bac9-b9dc3b56fe08" providerId="ADAL" clId="{5A8A7853-ED56-C94C-8253-E4AED203FB5D}" dt="2024-04-06T00:46:32.316" v="377"/>
          <ac:spMkLst>
            <pc:docMk/>
            <pc:sldMk cId="4013897666" sldId="312"/>
            <ac:spMk id="36" creationId="{0A51D07C-6A7C-30FA-27DF-F6800CFC56BC}"/>
          </ac:spMkLst>
        </pc:spChg>
        <pc:spChg chg="add mod">
          <ac:chgData name="Kavyasri Jadala" userId="db687c12-7a26-4519-bac9-b9dc3b56fe08" providerId="ADAL" clId="{5A8A7853-ED56-C94C-8253-E4AED203FB5D}" dt="2024-04-06T00:46:35.994" v="378" actId="1076"/>
          <ac:spMkLst>
            <pc:docMk/>
            <pc:sldMk cId="4013897666" sldId="312"/>
            <ac:spMk id="38" creationId="{BD85E140-1D11-E22C-A45D-D4C6FA10178E}"/>
          </ac:spMkLst>
        </pc:spChg>
        <pc:spChg chg="mod">
          <ac:chgData name="Kavyasri Jadala" userId="db687c12-7a26-4519-bac9-b9dc3b56fe08" providerId="ADAL" clId="{5A8A7853-ED56-C94C-8253-E4AED203FB5D}" dt="2024-04-06T00:46:32.316" v="377"/>
          <ac:spMkLst>
            <pc:docMk/>
            <pc:sldMk cId="4013897666" sldId="312"/>
            <ac:spMk id="41" creationId="{C47290F5-828D-6388-B5FC-015E6BF9E1A7}"/>
          </ac:spMkLst>
        </pc:spChg>
        <pc:spChg chg="mod">
          <ac:chgData name="Kavyasri Jadala" userId="db687c12-7a26-4519-bac9-b9dc3b56fe08" providerId="ADAL" clId="{5A8A7853-ED56-C94C-8253-E4AED203FB5D}" dt="2024-04-06T00:46:32.316" v="377"/>
          <ac:spMkLst>
            <pc:docMk/>
            <pc:sldMk cId="4013897666" sldId="312"/>
            <ac:spMk id="42" creationId="{73E60E53-EF47-2EA9-EB5A-9F0F52BFC097}"/>
          </ac:spMkLst>
        </pc:spChg>
        <pc:spChg chg="mod">
          <ac:chgData name="Kavyasri Jadala" userId="db687c12-7a26-4519-bac9-b9dc3b56fe08" providerId="ADAL" clId="{5A8A7853-ED56-C94C-8253-E4AED203FB5D}" dt="2024-04-06T00:46:32.316" v="377"/>
          <ac:spMkLst>
            <pc:docMk/>
            <pc:sldMk cId="4013897666" sldId="312"/>
            <ac:spMk id="44" creationId="{9F29986D-CA23-02A9-0509-DC11EE10246F}"/>
          </ac:spMkLst>
        </pc:spChg>
        <pc:spChg chg="mod">
          <ac:chgData name="Kavyasri Jadala" userId="db687c12-7a26-4519-bac9-b9dc3b56fe08" providerId="ADAL" clId="{5A8A7853-ED56-C94C-8253-E4AED203FB5D}" dt="2024-04-06T00:46:32.316" v="377"/>
          <ac:spMkLst>
            <pc:docMk/>
            <pc:sldMk cId="4013897666" sldId="312"/>
            <ac:spMk id="45" creationId="{C47549F5-D1AA-CE11-AE4C-7AFAB1DD40D5}"/>
          </ac:spMkLst>
        </pc:spChg>
        <pc:spChg chg="mod">
          <ac:chgData name="Kavyasri Jadala" userId="db687c12-7a26-4519-bac9-b9dc3b56fe08" providerId="ADAL" clId="{5A8A7853-ED56-C94C-8253-E4AED203FB5D}" dt="2024-04-06T00:46:32.316" v="377"/>
          <ac:spMkLst>
            <pc:docMk/>
            <pc:sldMk cId="4013897666" sldId="312"/>
            <ac:spMk id="47" creationId="{4C9141D7-D662-058F-C31C-E53E046598C8}"/>
          </ac:spMkLst>
        </pc:spChg>
        <pc:spChg chg="mod">
          <ac:chgData name="Kavyasri Jadala" userId="db687c12-7a26-4519-bac9-b9dc3b56fe08" providerId="ADAL" clId="{5A8A7853-ED56-C94C-8253-E4AED203FB5D}" dt="2024-04-06T00:46:32.316" v="377"/>
          <ac:spMkLst>
            <pc:docMk/>
            <pc:sldMk cId="4013897666" sldId="312"/>
            <ac:spMk id="48" creationId="{6454BF27-0471-69FA-BEE6-3E1C0362A82E}"/>
          </ac:spMkLst>
        </pc:spChg>
        <pc:spChg chg="mod">
          <ac:chgData name="Kavyasri Jadala" userId="db687c12-7a26-4519-bac9-b9dc3b56fe08" providerId="ADAL" clId="{5A8A7853-ED56-C94C-8253-E4AED203FB5D}" dt="2024-04-06T00:46:32.316" v="377"/>
          <ac:spMkLst>
            <pc:docMk/>
            <pc:sldMk cId="4013897666" sldId="312"/>
            <ac:spMk id="50" creationId="{5F9D37CD-E6B5-3990-7F13-8083C71EE9D4}"/>
          </ac:spMkLst>
        </pc:spChg>
        <pc:grpChg chg="add mod">
          <ac:chgData name="Kavyasri Jadala" userId="db687c12-7a26-4519-bac9-b9dc3b56fe08" providerId="ADAL" clId="{5A8A7853-ED56-C94C-8253-E4AED203FB5D}" dt="2024-04-06T00:46:35.994" v="378" actId="1076"/>
          <ac:grpSpMkLst>
            <pc:docMk/>
            <pc:sldMk cId="4013897666" sldId="312"/>
            <ac:grpSpMk id="30" creationId="{01EEE4DD-C194-97D8-85C2-3C405E12E65B}"/>
          </ac:grpSpMkLst>
        </pc:grpChg>
        <pc:grpChg chg="add mod">
          <ac:chgData name="Kavyasri Jadala" userId="db687c12-7a26-4519-bac9-b9dc3b56fe08" providerId="ADAL" clId="{5A8A7853-ED56-C94C-8253-E4AED203FB5D}" dt="2024-04-06T00:46:35.994" v="378" actId="1076"/>
          <ac:grpSpMkLst>
            <pc:docMk/>
            <pc:sldMk cId="4013897666" sldId="312"/>
            <ac:grpSpMk id="39" creationId="{8F842F64-98F2-4A1D-920E-900954C0D777}"/>
          </ac:grpSpMkLst>
        </pc:grpChg>
        <pc:grpChg chg="add mod">
          <ac:chgData name="Kavyasri Jadala" userId="db687c12-7a26-4519-bac9-b9dc3b56fe08" providerId="ADAL" clId="{5A8A7853-ED56-C94C-8253-E4AED203FB5D}" dt="2024-04-06T00:46:35.994" v="378" actId="1076"/>
          <ac:grpSpMkLst>
            <pc:docMk/>
            <pc:sldMk cId="4013897666" sldId="312"/>
            <ac:grpSpMk id="46" creationId="{474834A5-BE19-C55E-A820-E696CAB3EEE4}"/>
          </ac:grpSpMkLst>
        </pc:grpChg>
        <pc:picChg chg="mod">
          <ac:chgData name="Kavyasri Jadala" userId="db687c12-7a26-4519-bac9-b9dc3b56fe08" providerId="ADAL" clId="{5A8A7853-ED56-C94C-8253-E4AED203FB5D}" dt="2024-04-06T00:02:18.926" v="224" actId="29295"/>
          <ac:picMkLst>
            <pc:docMk/>
            <pc:sldMk cId="4013897666" sldId="312"/>
            <ac:picMk id="3" creationId="{6563DF79-2429-087E-94BD-2E3A3E1E49F8}"/>
          </ac:picMkLst>
        </pc:picChg>
        <pc:picChg chg="add mod">
          <ac:chgData name="Kavyasri Jadala" userId="db687c12-7a26-4519-bac9-b9dc3b56fe08" providerId="ADAL" clId="{5A8A7853-ED56-C94C-8253-E4AED203FB5D}" dt="2024-04-06T00:47:23.563" v="384" actId="1076"/>
          <ac:picMkLst>
            <pc:docMk/>
            <pc:sldMk cId="4013897666" sldId="312"/>
            <ac:picMk id="4" creationId="{D248087A-8E01-7A8A-B942-989A6F4F5E29}"/>
          </ac:picMkLst>
        </pc:picChg>
        <pc:picChg chg="add mod">
          <ac:chgData name="Kavyasri Jadala" userId="db687c12-7a26-4519-bac9-b9dc3b56fe08" providerId="ADAL" clId="{5A8A7853-ED56-C94C-8253-E4AED203FB5D}" dt="2024-04-06T00:46:46.742" v="380" actId="1076"/>
          <ac:picMkLst>
            <pc:docMk/>
            <pc:sldMk cId="4013897666" sldId="312"/>
            <ac:picMk id="6" creationId="{26DF14F7-A6F7-CEA2-0754-CE9E7900605D}"/>
          </ac:picMkLst>
        </pc:picChg>
        <pc:picChg chg="add del mod">
          <ac:chgData name="Kavyasri Jadala" userId="db687c12-7a26-4519-bac9-b9dc3b56fe08" providerId="ADAL" clId="{5A8A7853-ED56-C94C-8253-E4AED203FB5D}" dt="2024-04-06T00:43:18.064" v="370"/>
          <ac:picMkLst>
            <pc:docMk/>
            <pc:sldMk cId="4013897666" sldId="312"/>
            <ac:picMk id="28" creationId="{AB5A4DE0-5D3C-4EB4-616F-D0D507BB3D13}"/>
          </ac:picMkLst>
        </pc:picChg>
        <pc:picChg chg="add del mod modCrop">
          <ac:chgData name="Kavyasri Jadala" userId="db687c12-7a26-4519-bac9-b9dc3b56fe08" providerId="ADAL" clId="{5A8A7853-ED56-C94C-8253-E4AED203FB5D}" dt="2024-04-06T00:46:04.475" v="375" actId="478"/>
          <ac:picMkLst>
            <pc:docMk/>
            <pc:sldMk cId="4013897666" sldId="312"/>
            <ac:picMk id="29" creationId="{CB1F6392-1900-0F34-E6EF-9C45B72F027B}"/>
          </ac:picMkLst>
        </pc:picChg>
        <pc:picChg chg="mod">
          <ac:chgData name="Kavyasri Jadala" userId="db687c12-7a26-4519-bac9-b9dc3b56fe08" providerId="ADAL" clId="{5A8A7853-ED56-C94C-8253-E4AED203FB5D}" dt="2024-04-06T00:46:32.316" v="377"/>
          <ac:picMkLst>
            <pc:docMk/>
            <pc:sldMk cId="4013897666" sldId="312"/>
            <ac:picMk id="31" creationId="{B23588D3-3859-7C67-584A-81F57B3CCDD4}"/>
          </ac:picMkLst>
        </pc:picChg>
        <pc:picChg chg="mod">
          <ac:chgData name="Kavyasri Jadala" userId="db687c12-7a26-4519-bac9-b9dc3b56fe08" providerId="ADAL" clId="{5A8A7853-ED56-C94C-8253-E4AED203FB5D}" dt="2024-04-06T00:46:32.316" v="377"/>
          <ac:picMkLst>
            <pc:docMk/>
            <pc:sldMk cId="4013897666" sldId="312"/>
            <ac:picMk id="33" creationId="{2BFD57CA-EDAF-020A-A3C2-B95047C7AC56}"/>
          </ac:picMkLst>
        </pc:picChg>
        <pc:picChg chg="mod">
          <ac:chgData name="Kavyasri Jadala" userId="db687c12-7a26-4519-bac9-b9dc3b56fe08" providerId="ADAL" clId="{5A8A7853-ED56-C94C-8253-E4AED203FB5D}" dt="2024-04-06T00:46:32.316" v="377"/>
          <ac:picMkLst>
            <pc:docMk/>
            <pc:sldMk cId="4013897666" sldId="312"/>
            <ac:picMk id="37" creationId="{1B0ABED7-E19A-6FCB-7EDD-DAAD057F55A4}"/>
          </ac:picMkLst>
        </pc:picChg>
        <pc:picChg chg="mod">
          <ac:chgData name="Kavyasri Jadala" userId="db687c12-7a26-4519-bac9-b9dc3b56fe08" providerId="ADAL" clId="{5A8A7853-ED56-C94C-8253-E4AED203FB5D}" dt="2024-04-06T00:46:32.316" v="377"/>
          <ac:picMkLst>
            <pc:docMk/>
            <pc:sldMk cId="4013897666" sldId="312"/>
            <ac:picMk id="40" creationId="{DD5B7F60-50E9-CB03-1A9F-7291A8DDC30B}"/>
          </ac:picMkLst>
        </pc:picChg>
        <pc:picChg chg="mod">
          <ac:chgData name="Kavyasri Jadala" userId="db687c12-7a26-4519-bac9-b9dc3b56fe08" providerId="ADAL" clId="{5A8A7853-ED56-C94C-8253-E4AED203FB5D}" dt="2024-04-06T00:46:32.316" v="377"/>
          <ac:picMkLst>
            <pc:docMk/>
            <pc:sldMk cId="4013897666" sldId="312"/>
            <ac:picMk id="43" creationId="{9F82EB2F-02F7-04F7-9949-72D13845FFD5}"/>
          </ac:picMkLst>
        </pc:picChg>
        <pc:picChg chg="mod">
          <ac:chgData name="Kavyasri Jadala" userId="db687c12-7a26-4519-bac9-b9dc3b56fe08" providerId="ADAL" clId="{5A8A7853-ED56-C94C-8253-E4AED203FB5D}" dt="2024-04-06T00:46:32.316" v="377"/>
          <ac:picMkLst>
            <pc:docMk/>
            <pc:sldMk cId="4013897666" sldId="312"/>
            <ac:picMk id="49" creationId="{0DD90530-296C-CF5A-EB48-906CFF8B4AC6}"/>
          </ac:picMkLst>
        </pc:picChg>
        <pc:picChg chg="add mod">
          <ac:chgData name="Kavyasri Jadala" userId="db687c12-7a26-4519-bac9-b9dc3b56fe08" providerId="ADAL" clId="{5A8A7853-ED56-C94C-8253-E4AED203FB5D}" dt="2024-04-06T00:46:35.994" v="378" actId="1076"/>
          <ac:picMkLst>
            <pc:docMk/>
            <pc:sldMk cId="4013897666" sldId="312"/>
            <ac:picMk id="51" creationId="{37913C58-5EAF-4D4F-6CCB-AA2E4A8592FA}"/>
          </ac:picMkLst>
        </pc:picChg>
        <pc:picChg chg="add del mod">
          <ac:chgData name="Kavyasri Jadala" userId="db687c12-7a26-4519-bac9-b9dc3b56fe08" providerId="ADAL" clId="{5A8A7853-ED56-C94C-8253-E4AED203FB5D}" dt="2024-04-06T01:00:03.276" v="387"/>
          <ac:picMkLst>
            <pc:docMk/>
            <pc:sldMk cId="4013897666" sldId="312"/>
            <ac:picMk id="52" creationId="{F2D2F6CB-A85F-2805-14C5-36D9AC19A8C0}"/>
          </ac:picMkLst>
        </pc:picChg>
        <pc:picChg chg="add del mod">
          <ac:chgData name="Kavyasri Jadala" userId="db687c12-7a26-4519-bac9-b9dc3b56fe08" providerId="ADAL" clId="{5A8A7853-ED56-C94C-8253-E4AED203FB5D}" dt="2024-04-06T01:34:43.917" v="389"/>
          <ac:picMkLst>
            <pc:docMk/>
            <pc:sldMk cId="4013897666" sldId="312"/>
            <ac:picMk id="53" creationId="{AA7C6BAB-F868-F932-6972-DFB54A2DEE24}"/>
          </ac:picMkLst>
        </pc:picChg>
        <pc:picChg chg="add del mod">
          <ac:chgData name="Kavyasri Jadala" userId="db687c12-7a26-4519-bac9-b9dc3b56fe08" providerId="ADAL" clId="{5A8A7853-ED56-C94C-8253-E4AED203FB5D}" dt="2024-04-06T01:38:17.634" v="393"/>
          <ac:picMkLst>
            <pc:docMk/>
            <pc:sldMk cId="4013897666" sldId="312"/>
            <ac:picMk id="54" creationId="{44B75834-B208-4413-4527-57CA5B673F77}"/>
          </ac:picMkLst>
        </pc:picChg>
        <pc:picChg chg="add mod">
          <ac:chgData name="Kavyasri Jadala" userId="db687c12-7a26-4519-bac9-b9dc3b56fe08" providerId="ADAL" clId="{5A8A7853-ED56-C94C-8253-E4AED203FB5D}" dt="2024-04-06T01:46:54.189" v="401" actId="11530"/>
          <ac:picMkLst>
            <pc:docMk/>
            <pc:sldMk cId="4013897666" sldId="312"/>
            <ac:picMk id="55" creationId="{2B11A256-E6E0-0B27-099B-9CD976AC11D4}"/>
          </ac:picMkLst>
        </pc:picChg>
        <pc:cxnChg chg="add del mod">
          <ac:chgData name="Kavyasri Jadala" userId="db687c12-7a26-4519-bac9-b9dc3b56fe08" providerId="ADAL" clId="{5A8A7853-ED56-C94C-8253-E4AED203FB5D}" dt="2024-04-05T23:52:42.425" v="75"/>
          <ac:cxnSpMkLst>
            <pc:docMk/>
            <pc:sldMk cId="4013897666" sldId="312"/>
            <ac:cxnSpMk id="8" creationId="{4BB18A61-873F-62E6-FF57-4D162246383F}"/>
          </ac:cxnSpMkLst>
        </pc:cxnChg>
        <pc:cxnChg chg="add del mod">
          <ac:chgData name="Kavyasri Jadala" userId="db687c12-7a26-4519-bac9-b9dc3b56fe08" providerId="ADAL" clId="{5A8A7853-ED56-C94C-8253-E4AED203FB5D}" dt="2024-04-05T23:52:42.425" v="75"/>
          <ac:cxnSpMkLst>
            <pc:docMk/>
            <pc:sldMk cId="4013897666" sldId="312"/>
            <ac:cxnSpMk id="10" creationId="{625C7530-04CB-DE1E-7E72-7E18E57D6200}"/>
          </ac:cxnSpMkLst>
        </pc:cxnChg>
        <pc:cxnChg chg="add del mod">
          <ac:chgData name="Kavyasri Jadala" userId="db687c12-7a26-4519-bac9-b9dc3b56fe08" providerId="ADAL" clId="{5A8A7853-ED56-C94C-8253-E4AED203FB5D}" dt="2024-04-05T23:52:42.425" v="75"/>
          <ac:cxnSpMkLst>
            <pc:docMk/>
            <pc:sldMk cId="4013897666" sldId="312"/>
            <ac:cxnSpMk id="14" creationId="{A84568BF-FE4D-839E-0469-A0044193CF88}"/>
          </ac:cxnSpMkLst>
        </pc:cxnChg>
        <pc:cxnChg chg="add mod">
          <ac:chgData name="Kavyasri Jadala" userId="db687c12-7a26-4519-bac9-b9dc3b56fe08" providerId="ADAL" clId="{5A8A7853-ED56-C94C-8253-E4AED203FB5D}" dt="2024-04-06T00:46:24.604" v="376" actId="1076"/>
          <ac:cxnSpMkLst>
            <pc:docMk/>
            <pc:sldMk cId="4013897666" sldId="312"/>
            <ac:cxnSpMk id="20" creationId="{EDC49545-0C8A-43C5-B592-9E5C215684DC}"/>
          </ac:cxnSpMkLst>
        </pc:cxnChg>
        <pc:cxnChg chg="add mod">
          <ac:chgData name="Kavyasri Jadala" userId="db687c12-7a26-4519-bac9-b9dc3b56fe08" providerId="ADAL" clId="{5A8A7853-ED56-C94C-8253-E4AED203FB5D}" dt="2024-04-06T00:46:24.604" v="376" actId="1076"/>
          <ac:cxnSpMkLst>
            <pc:docMk/>
            <pc:sldMk cId="4013897666" sldId="312"/>
            <ac:cxnSpMk id="22" creationId="{92749D4A-A30F-86FB-0444-476095CFEE92}"/>
          </ac:cxnSpMkLst>
        </pc:cxnChg>
        <pc:cxnChg chg="add mod">
          <ac:chgData name="Kavyasri Jadala" userId="db687c12-7a26-4519-bac9-b9dc3b56fe08" providerId="ADAL" clId="{5A8A7853-ED56-C94C-8253-E4AED203FB5D}" dt="2024-04-06T00:46:24.604" v="376" actId="1076"/>
          <ac:cxnSpMkLst>
            <pc:docMk/>
            <pc:sldMk cId="4013897666" sldId="312"/>
            <ac:cxnSpMk id="26" creationId="{49BE0638-9A5C-9DB5-5567-630B8B9AE3E2}"/>
          </ac:cxnSpMkLst>
        </pc:cxnChg>
      </pc:sldChg>
      <pc:sldChg chg="addSp delSp modSp add del mod">
        <pc:chgData name="Kavyasri Jadala" userId="db687c12-7a26-4519-bac9-b9dc3b56fe08" providerId="ADAL" clId="{5A8A7853-ED56-C94C-8253-E4AED203FB5D}" dt="2024-04-06T01:43:43.128" v="400" actId="2696"/>
        <pc:sldMkLst>
          <pc:docMk/>
          <pc:sldMk cId="2494740264" sldId="313"/>
        </pc:sldMkLst>
        <pc:spChg chg="mod">
          <ac:chgData name="Kavyasri Jadala" userId="db687c12-7a26-4519-bac9-b9dc3b56fe08" providerId="ADAL" clId="{5A8A7853-ED56-C94C-8253-E4AED203FB5D}" dt="2024-04-06T00:12:12.242" v="368" actId="20577"/>
          <ac:spMkLst>
            <pc:docMk/>
            <pc:sldMk cId="2494740264" sldId="313"/>
            <ac:spMk id="7" creationId="{9B24BD0A-6C4B-5BDF-321C-3070C0C25DC6}"/>
          </ac:spMkLst>
        </pc:spChg>
        <pc:spChg chg="mod">
          <ac:chgData name="Kavyasri Jadala" userId="db687c12-7a26-4519-bac9-b9dc3b56fe08" providerId="ADAL" clId="{5A8A7853-ED56-C94C-8253-E4AED203FB5D}" dt="2024-04-05T23:55:55.730" v="118" actId="207"/>
          <ac:spMkLst>
            <pc:docMk/>
            <pc:sldMk cId="2494740264" sldId="313"/>
            <ac:spMk id="9" creationId="{006F9D5F-48C9-C652-D221-046898153CB7}"/>
          </ac:spMkLst>
        </pc:spChg>
        <pc:spChg chg="mod">
          <ac:chgData name="Kavyasri Jadala" userId="db687c12-7a26-4519-bac9-b9dc3b56fe08" providerId="ADAL" clId="{5A8A7853-ED56-C94C-8253-E4AED203FB5D}" dt="2024-04-05T23:58:14.680" v="141" actId="207"/>
          <ac:spMkLst>
            <pc:docMk/>
            <pc:sldMk cId="2494740264" sldId="313"/>
            <ac:spMk id="10" creationId="{9D223D87-F28B-DC1A-929D-1FE474D4C509}"/>
          </ac:spMkLst>
        </pc:spChg>
        <pc:spChg chg="mod">
          <ac:chgData name="Kavyasri Jadala" userId="db687c12-7a26-4519-bac9-b9dc3b56fe08" providerId="ADAL" clId="{5A8A7853-ED56-C94C-8253-E4AED203FB5D}" dt="2024-04-05T23:58:16.772" v="142" actId="207"/>
          <ac:spMkLst>
            <pc:docMk/>
            <pc:sldMk cId="2494740264" sldId="313"/>
            <ac:spMk id="11" creationId="{7E40F62D-4261-1EF9-D0FD-AE65F61A8823}"/>
          </ac:spMkLst>
        </pc:spChg>
        <pc:spChg chg="add mod">
          <ac:chgData name="Kavyasri Jadala" userId="db687c12-7a26-4519-bac9-b9dc3b56fe08" providerId="ADAL" clId="{5A8A7853-ED56-C94C-8253-E4AED203FB5D}" dt="2024-04-06T00:01:49.555" v="187" actId="1076"/>
          <ac:spMkLst>
            <pc:docMk/>
            <pc:sldMk cId="2494740264" sldId="313"/>
            <ac:spMk id="13" creationId="{85EA49B4-A7CF-3B4F-A99A-6287936E97D5}"/>
          </ac:spMkLst>
        </pc:spChg>
        <pc:spChg chg="mod">
          <ac:chgData name="Kavyasri Jadala" userId="db687c12-7a26-4519-bac9-b9dc3b56fe08" providerId="ADAL" clId="{5A8A7853-ED56-C94C-8253-E4AED203FB5D}" dt="2024-04-06T00:00:26.045" v="174" actId="207"/>
          <ac:spMkLst>
            <pc:docMk/>
            <pc:sldMk cId="2494740264" sldId="313"/>
            <ac:spMk id="16" creationId="{A3EE5596-8D7D-D79B-B3BF-1860BF93F8CD}"/>
          </ac:spMkLst>
        </pc:spChg>
        <pc:spChg chg="mod">
          <ac:chgData name="Kavyasri Jadala" userId="db687c12-7a26-4519-bac9-b9dc3b56fe08" providerId="ADAL" clId="{5A8A7853-ED56-C94C-8253-E4AED203FB5D}" dt="2024-04-05T23:59:15.849" v="154"/>
          <ac:spMkLst>
            <pc:docMk/>
            <pc:sldMk cId="2494740264" sldId="313"/>
            <ac:spMk id="17" creationId="{A508728A-23FC-8752-D7B3-C1C52934F594}"/>
          </ac:spMkLst>
        </pc:spChg>
        <pc:spChg chg="del">
          <ac:chgData name="Kavyasri Jadala" userId="db687c12-7a26-4519-bac9-b9dc3b56fe08" providerId="ADAL" clId="{5A8A7853-ED56-C94C-8253-E4AED203FB5D}" dt="2024-04-05T23:55:26.670" v="111" actId="478"/>
          <ac:spMkLst>
            <pc:docMk/>
            <pc:sldMk cId="2494740264" sldId="313"/>
            <ac:spMk id="19" creationId="{0F5C4E2B-02B3-3EF4-1DC9-75E0B2B1B8A8}"/>
          </ac:spMkLst>
        </pc:spChg>
        <pc:spChg chg="del">
          <ac:chgData name="Kavyasri Jadala" userId="db687c12-7a26-4519-bac9-b9dc3b56fe08" providerId="ADAL" clId="{5A8A7853-ED56-C94C-8253-E4AED203FB5D}" dt="2024-04-05T23:55:26.670" v="111" actId="478"/>
          <ac:spMkLst>
            <pc:docMk/>
            <pc:sldMk cId="2494740264" sldId="313"/>
            <ac:spMk id="21" creationId="{FA572B3B-A79F-1B57-6843-9D5E72B1B18F}"/>
          </ac:spMkLst>
        </pc:spChg>
        <pc:spChg chg="del">
          <ac:chgData name="Kavyasri Jadala" userId="db687c12-7a26-4519-bac9-b9dc3b56fe08" providerId="ADAL" clId="{5A8A7853-ED56-C94C-8253-E4AED203FB5D}" dt="2024-04-05T23:55:26.670" v="111" actId="478"/>
          <ac:spMkLst>
            <pc:docMk/>
            <pc:sldMk cId="2494740264" sldId="313"/>
            <ac:spMk id="23" creationId="{AEA133DE-166B-D61C-8850-E4BBB137BCD3}"/>
          </ac:spMkLst>
        </pc:spChg>
        <pc:spChg chg="del">
          <ac:chgData name="Kavyasri Jadala" userId="db687c12-7a26-4519-bac9-b9dc3b56fe08" providerId="ADAL" clId="{5A8A7853-ED56-C94C-8253-E4AED203FB5D}" dt="2024-04-05T23:55:26.670" v="111" actId="478"/>
          <ac:spMkLst>
            <pc:docMk/>
            <pc:sldMk cId="2494740264" sldId="313"/>
            <ac:spMk id="24" creationId="{33A5B72A-186F-67F1-9D61-527F425CBBAD}"/>
          </ac:spMkLst>
        </pc:spChg>
        <pc:spChg chg="del">
          <ac:chgData name="Kavyasri Jadala" userId="db687c12-7a26-4519-bac9-b9dc3b56fe08" providerId="ADAL" clId="{5A8A7853-ED56-C94C-8253-E4AED203FB5D}" dt="2024-04-05T23:55:26.670" v="111" actId="478"/>
          <ac:spMkLst>
            <pc:docMk/>
            <pc:sldMk cId="2494740264" sldId="313"/>
            <ac:spMk id="25" creationId="{1EDABA66-DFEA-7EC7-953E-4BB88AE5EC4C}"/>
          </ac:spMkLst>
        </pc:spChg>
        <pc:spChg chg="del">
          <ac:chgData name="Kavyasri Jadala" userId="db687c12-7a26-4519-bac9-b9dc3b56fe08" providerId="ADAL" clId="{5A8A7853-ED56-C94C-8253-E4AED203FB5D}" dt="2024-04-05T23:55:26.670" v="111" actId="478"/>
          <ac:spMkLst>
            <pc:docMk/>
            <pc:sldMk cId="2494740264" sldId="313"/>
            <ac:spMk id="27" creationId="{AA847B08-EED7-B5CF-88FD-B6505E35F38B}"/>
          </ac:spMkLst>
        </pc:spChg>
        <pc:spChg chg="mod">
          <ac:chgData name="Kavyasri Jadala" userId="db687c12-7a26-4519-bac9-b9dc3b56fe08" providerId="ADAL" clId="{5A8A7853-ED56-C94C-8253-E4AED203FB5D}" dt="2024-04-06T00:00:23.289" v="173" actId="207"/>
          <ac:spMkLst>
            <pc:docMk/>
            <pc:sldMk cId="2494740264" sldId="313"/>
            <ac:spMk id="28" creationId="{0B754AEE-DEDE-44D1-0100-764440727D95}"/>
          </ac:spMkLst>
        </pc:spChg>
        <pc:spChg chg="mod">
          <ac:chgData name="Kavyasri Jadala" userId="db687c12-7a26-4519-bac9-b9dc3b56fe08" providerId="ADAL" clId="{5A8A7853-ED56-C94C-8253-E4AED203FB5D}" dt="2024-04-06T00:00:23.289" v="173" actId="207"/>
          <ac:spMkLst>
            <pc:docMk/>
            <pc:sldMk cId="2494740264" sldId="313"/>
            <ac:spMk id="29" creationId="{1ACBBC0B-6191-D1FF-DA31-FCDA007698BF}"/>
          </ac:spMkLst>
        </pc:spChg>
        <pc:spChg chg="add del mod">
          <ac:chgData name="Kavyasri Jadala" userId="db687c12-7a26-4519-bac9-b9dc3b56fe08" providerId="ADAL" clId="{5A8A7853-ED56-C94C-8253-E4AED203FB5D}" dt="2024-04-05T23:59:39.626" v="160"/>
          <ac:spMkLst>
            <pc:docMk/>
            <pc:sldMk cId="2494740264" sldId="313"/>
            <ac:spMk id="30" creationId="{20A0C967-7287-E85E-8835-D309534D62C1}"/>
          </ac:spMkLst>
        </pc:spChg>
        <pc:spChg chg="mod">
          <ac:chgData name="Kavyasri Jadala" userId="db687c12-7a26-4519-bac9-b9dc3b56fe08" providerId="ADAL" clId="{5A8A7853-ED56-C94C-8253-E4AED203FB5D}" dt="2024-04-06T00:00:53.524" v="179" actId="207"/>
          <ac:spMkLst>
            <pc:docMk/>
            <pc:sldMk cId="2494740264" sldId="313"/>
            <ac:spMk id="32" creationId="{247889F4-8302-2952-DFBF-112363122929}"/>
          </ac:spMkLst>
        </pc:spChg>
        <pc:spChg chg="mod">
          <ac:chgData name="Kavyasri Jadala" userId="db687c12-7a26-4519-bac9-b9dc3b56fe08" providerId="ADAL" clId="{5A8A7853-ED56-C94C-8253-E4AED203FB5D}" dt="2024-04-06T00:00:31.999" v="177" actId="207"/>
          <ac:spMkLst>
            <pc:docMk/>
            <pc:sldMk cId="2494740264" sldId="313"/>
            <ac:spMk id="33" creationId="{46F5799E-2A6A-5F55-6D9A-9EE1E143D9C8}"/>
          </ac:spMkLst>
        </pc:spChg>
        <pc:spChg chg="mod">
          <ac:chgData name="Kavyasri Jadala" userId="db687c12-7a26-4519-bac9-b9dc3b56fe08" providerId="ADAL" clId="{5A8A7853-ED56-C94C-8253-E4AED203FB5D}" dt="2024-04-05T23:59:56.222" v="162"/>
          <ac:spMkLst>
            <pc:docMk/>
            <pc:sldMk cId="2494740264" sldId="313"/>
            <ac:spMk id="35" creationId="{9E75A219-1015-A334-77EF-D63D1FE4DC6F}"/>
          </ac:spMkLst>
        </pc:spChg>
        <pc:grpChg chg="add mod">
          <ac:chgData name="Kavyasri Jadala" userId="db687c12-7a26-4519-bac9-b9dc3b56fe08" providerId="ADAL" clId="{5A8A7853-ED56-C94C-8253-E4AED203FB5D}" dt="2024-04-06T00:01:49.555" v="187" actId="1076"/>
          <ac:grpSpMkLst>
            <pc:docMk/>
            <pc:sldMk cId="2494740264" sldId="313"/>
            <ac:grpSpMk id="2" creationId="{C9C31E59-AE4C-38F3-898E-53C87ACD61BD}"/>
          </ac:grpSpMkLst>
        </pc:grpChg>
        <pc:grpChg chg="add mod">
          <ac:chgData name="Kavyasri Jadala" userId="db687c12-7a26-4519-bac9-b9dc3b56fe08" providerId="ADAL" clId="{5A8A7853-ED56-C94C-8253-E4AED203FB5D}" dt="2024-04-06T00:01:49.555" v="187" actId="1076"/>
          <ac:grpSpMkLst>
            <pc:docMk/>
            <pc:sldMk cId="2494740264" sldId="313"/>
            <ac:grpSpMk id="14" creationId="{7E3E0AA2-43A7-89CD-BF47-842B658D7DE2}"/>
          </ac:grpSpMkLst>
        </pc:grpChg>
        <pc:grpChg chg="add mod">
          <ac:chgData name="Kavyasri Jadala" userId="db687c12-7a26-4519-bac9-b9dc3b56fe08" providerId="ADAL" clId="{5A8A7853-ED56-C94C-8253-E4AED203FB5D}" dt="2024-04-06T00:01:49.555" v="187" actId="1076"/>
          <ac:grpSpMkLst>
            <pc:docMk/>
            <pc:sldMk cId="2494740264" sldId="313"/>
            <ac:grpSpMk id="31" creationId="{7CBC168D-C417-4D01-DD57-ECDCDD095E4C}"/>
          </ac:grpSpMkLst>
        </pc:grpChg>
        <pc:picChg chg="mod">
          <ac:chgData name="Kavyasri Jadala" userId="db687c12-7a26-4519-bac9-b9dc3b56fe08" providerId="ADAL" clId="{5A8A7853-ED56-C94C-8253-E4AED203FB5D}" dt="2024-04-06T00:02:04.655" v="210" actId="29295"/>
          <ac:picMkLst>
            <pc:docMk/>
            <pc:sldMk cId="2494740264" sldId="313"/>
            <ac:picMk id="3" creationId="{6563DF79-2429-087E-94BD-2E3A3E1E49F8}"/>
          </ac:picMkLst>
        </pc:picChg>
        <pc:picChg chg="del">
          <ac:chgData name="Kavyasri Jadala" userId="db687c12-7a26-4519-bac9-b9dc3b56fe08" providerId="ADAL" clId="{5A8A7853-ED56-C94C-8253-E4AED203FB5D}" dt="2024-04-05T23:55:19.981" v="110" actId="478"/>
          <ac:picMkLst>
            <pc:docMk/>
            <pc:sldMk cId="2494740264" sldId="313"/>
            <ac:picMk id="4" creationId="{D248087A-8E01-7A8A-B942-989A6F4F5E29}"/>
          </ac:picMkLst>
        </pc:picChg>
        <pc:picChg chg="mod">
          <ac:chgData name="Kavyasri Jadala" userId="db687c12-7a26-4519-bac9-b9dc3b56fe08" providerId="ADAL" clId="{5A8A7853-ED56-C94C-8253-E4AED203FB5D}" dt="2024-04-05T23:58:08.869" v="140" actId="208"/>
          <ac:picMkLst>
            <pc:docMk/>
            <pc:sldMk cId="2494740264" sldId="313"/>
            <ac:picMk id="5" creationId="{CC64C5FF-7301-CBC9-5189-BDE8C103960F}"/>
          </ac:picMkLst>
        </pc:picChg>
        <pc:picChg chg="del">
          <ac:chgData name="Kavyasri Jadala" userId="db687c12-7a26-4519-bac9-b9dc3b56fe08" providerId="ADAL" clId="{5A8A7853-ED56-C94C-8253-E4AED203FB5D}" dt="2024-04-05T23:55:26.670" v="111" actId="478"/>
          <ac:picMkLst>
            <pc:docMk/>
            <pc:sldMk cId="2494740264" sldId="313"/>
            <ac:picMk id="6" creationId="{26DF14F7-A6F7-CEA2-0754-CE9E7900605D}"/>
          </ac:picMkLst>
        </pc:picChg>
        <pc:picChg chg="mod">
          <ac:chgData name="Kavyasri Jadala" userId="db687c12-7a26-4519-bac9-b9dc3b56fe08" providerId="ADAL" clId="{5A8A7853-ED56-C94C-8253-E4AED203FB5D}" dt="2024-04-05T23:58:05.027" v="138" actId="208"/>
          <ac:picMkLst>
            <pc:docMk/>
            <pc:sldMk cId="2494740264" sldId="313"/>
            <ac:picMk id="8" creationId="{4A246F84-F918-35C7-940D-8CF86F93DD7E}"/>
          </ac:picMkLst>
        </pc:picChg>
        <pc:picChg chg="mod">
          <ac:chgData name="Kavyasri Jadala" userId="db687c12-7a26-4519-bac9-b9dc3b56fe08" providerId="ADAL" clId="{5A8A7853-ED56-C94C-8253-E4AED203FB5D}" dt="2024-04-05T23:58:06.995" v="139" actId="208"/>
          <ac:picMkLst>
            <pc:docMk/>
            <pc:sldMk cId="2494740264" sldId="313"/>
            <ac:picMk id="12" creationId="{AAC3656E-31B9-92F0-2D94-1E11A5A7EEDA}"/>
          </ac:picMkLst>
        </pc:picChg>
        <pc:picChg chg="mod">
          <ac:chgData name="Kavyasri Jadala" userId="db687c12-7a26-4519-bac9-b9dc3b56fe08" providerId="ADAL" clId="{5A8A7853-ED56-C94C-8253-E4AED203FB5D}" dt="2024-04-06T00:01:13.650" v="183" actId="208"/>
          <ac:picMkLst>
            <pc:docMk/>
            <pc:sldMk cId="2494740264" sldId="313"/>
            <ac:picMk id="15" creationId="{F3407BD7-F4B9-00D5-03D7-76D711B9C1E8}"/>
          </ac:picMkLst>
        </pc:picChg>
        <pc:picChg chg="mod">
          <ac:chgData name="Kavyasri Jadala" userId="db687c12-7a26-4519-bac9-b9dc3b56fe08" providerId="ADAL" clId="{5A8A7853-ED56-C94C-8253-E4AED203FB5D}" dt="2024-04-06T00:01:16.170" v="184" actId="208"/>
          <ac:picMkLst>
            <pc:docMk/>
            <pc:sldMk cId="2494740264" sldId="313"/>
            <ac:picMk id="18" creationId="{6FBF0FBD-B406-91C6-24BE-298670D5FBF1}"/>
          </ac:picMkLst>
        </pc:picChg>
        <pc:picChg chg="mod">
          <ac:chgData name="Kavyasri Jadala" userId="db687c12-7a26-4519-bac9-b9dc3b56fe08" providerId="ADAL" clId="{5A8A7853-ED56-C94C-8253-E4AED203FB5D}" dt="2024-04-06T00:01:09.819" v="182" actId="208"/>
          <ac:picMkLst>
            <pc:docMk/>
            <pc:sldMk cId="2494740264" sldId="313"/>
            <ac:picMk id="34" creationId="{AEB13A99-A46B-CAB5-5909-A56D6FE7A11D}"/>
          </ac:picMkLst>
        </pc:picChg>
        <pc:picChg chg="add mod">
          <ac:chgData name="Kavyasri Jadala" userId="db687c12-7a26-4519-bac9-b9dc3b56fe08" providerId="ADAL" clId="{5A8A7853-ED56-C94C-8253-E4AED203FB5D}" dt="2024-04-06T00:08:24.794" v="318" actId="14100"/>
          <ac:picMkLst>
            <pc:docMk/>
            <pc:sldMk cId="2494740264" sldId="313"/>
            <ac:picMk id="37" creationId="{54989A21-9667-4E63-68B1-7591DD185D08}"/>
          </ac:picMkLst>
        </pc:picChg>
        <pc:cxnChg chg="del">
          <ac:chgData name="Kavyasri Jadala" userId="db687c12-7a26-4519-bac9-b9dc3b56fe08" providerId="ADAL" clId="{5A8A7853-ED56-C94C-8253-E4AED203FB5D}" dt="2024-04-05T23:55:26.670" v="111" actId="478"/>
          <ac:cxnSpMkLst>
            <pc:docMk/>
            <pc:sldMk cId="2494740264" sldId="313"/>
            <ac:cxnSpMk id="20" creationId="{EDC49545-0C8A-43C5-B592-9E5C215684DC}"/>
          </ac:cxnSpMkLst>
        </pc:cxnChg>
        <pc:cxnChg chg="del">
          <ac:chgData name="Kavyasri Jadala" userId="db687c12-7a26-4519-bac9-b9dc3b56fe08" providerId="ADAL" clId="{5A8A7853-ED56-C94C-8253-E4AED203FB5D}" dt="2024-04-05T23:55:26.670" v="111" actId="478"/>
          <ac:cxnSpMkLst>
            <pc:docMk/>
            <pc:sldMk cId="2494740264" sldId="313"/>
            <ac:cxnSpMk id="22" creationId="{92749D4A-A30F-86FB-0444-476095CFEE92}"/>
          </ac:cxnSpMkLst>
        </pc:cxnChg>
        <pc:cxnChg chg="del">
          <ac:chgData name="Kavyasri Jadala" userId="db687c12-7a26-4519-bac9-b9dc3b56fe08" providerId="ADAL" clId="{5A8A7853-ED56-C94C-8253-E4AED203FB5D}" dt="2024-04-05T23:55:26.670" v="111" actId="478"/>
          <ac:cxnSpMkLst>
            <pc:docMk/>
            <pc:sldMk cId="2494740264" sldId="313"/>
            <ac:cxnSpMk id="26" creationId="{49BE0638-9A5C-9DB5-5567-630B8B9AE3E2}"/>
          </ac:cxnSpMkLst>
        </pc:cxnChg>
      </pc:sldChg>
      <pc:sldChg chg="add del">
        <pc:chgData name="Kavyasri Jadala" userId="db687c12-7a26-4519-bac9-b9dc3b56fe08" providerId="ADAL" clId="{5A8A7853-ED56-C94C-8253-E4AED203FB5D}" dt="2024-04-05T23:50:06.570" v="55"/>
        <pc:sldMkLst>
          <pc:docMk/>
          <pc:sldMk cId="4003376324" sldId="313"/>
        </pc:sldMkLst>
      </pc:sldChg>
      <pc:sldChg chg="addSp delSp modSp add mod ord modTransition modAnim modNotesTx">
        <pc:chgData name="Kavyasri Jadala" userId="db687c12-7a26-4519-bac9-b9dc3b56fe08" providerId="ADAL" clId="{5A8A7853-ED56-C94C-8253-E4AED203FB5D}" dt="2024-04-06T01:47:23.776" v="402" actId="11530"/>
        <pc:sldMkLst>
          <pc:docMk/>
          <pc:sldMk cId="1296542655" sldId="314"/>
        </pc:sldMkLst>
        <pc:spChg chg="mod">
          <ac:chgData name="Kavyasri Jadala" userId="db687c12-7a26-4519-bac9-b9dc3b56fe08" providerId="ADAL" clId="{5A8A7853-ED56-C94C-8253-E4AED203FB5D}" dt="2024-04-06T00:03:27.530" v="226" actId="20577"/>
          <ac:spMkLst>
            <pc:docMk/>
            <pc:sldMk cId="1296542655" sldId="314"/>
            <ac:spMk id="11" creationId="{7E40F62D-4261-1EF9-D0FD-AE65F61A8823}"/>
          </ac:spMkLst>
        </pc:spChg>
        <pc:spChg chg="del mod">
          <ac:chgData name="Kavyasri Jadala" userId="db687c12-7a26-4519-bac9-b9dc3b56fe08" providerId="ADAL" clId="{5A8A7853-ED56-C94C-8253-E4AED203FB5D}" dt="2024-04-06T00:03:40.157" v="231" actId="478"/>
          <ac:spMkLst>
            <pc:docMk/>
            <pc:sldMk cId="1296542655" sldId="314"/>
            <ac:spMk id="13" creationId="{85EA49B4-A7CF-3B4F-A99A-6287936E97D5}"/>
          </ac:spMkLst>
        </pc:spChg>
        <pc:spChg chg="add mod">
          <ac:chgData name="Kavyasri Jadala" userId="db687c12-7a26-4519-bac9-b9dc3b56fe08" providerId="ADAL" clId="{5A8A7853-ED56-C94C-8253-E4AED203FB5D}" dt="2024-04-06T00:06:45.610" v="308" actId="1076"/>
          <ac:spMkLst>
            <pc:docMk/>
            <pc:sldMk cId="1296542655" sldId="314"/>
            <ac:spMk id="20" creationId="{6E285F58-9513-E3B2-5DFF-73860EF18717}"/>
          </ac:spMkLst>
        </pc:spChg>
        <pc:spChg chg="add mod">
          <ac:chgData name="Kavyasri Jadala" userId="db687c12-7a26-4519-bac9-b9dc3b56fe08" providerId="ADAL" clId="{5A8A7853-ED56-C94C-8253-E4AED203FB5D}" dt="2024-04-06T00:07:00.671" v="311" actId="1076"/>
          <ac:spMkLst>
            <pc:docMk/>
            <pc:sldMk cId="1296542655" sldId="314"/>
            <ac:spMk id="21" creationId="{DEA8271C-BE24-1FA7-033B-F2FF1E21EBC2}"/>
          </ac:spMkLst>
        </pc:spChg>
        <pc:spChg chg="add mod">
          <ac:chgData name="Kavyasri Jadala" userId="db687c12-7a26-4519-bac9-b9dc3b56fe08" providerId="ADAL" clId="{5A8A7853-ED56-C94C-8253-E4AED203FB5D}" dt="2024-04-06T00:07:00.671" v="311" actId="1076"/>
          <ac:spMkLst>
            <pc:docMk/>
            <pc:sldMk cId="1296542655" sldId="314"/>
            <ac:spMk id="23" creationId="{A3EAF839-87F9-B22E-24EE-E3CB8B8F26A4}"/>
          </ac:spMkLst>
        </pc:spChg>
        <pc:spChg chg="add mod">
          <ac:chgData name="Kavyasri Jadala" userId="db687c12-7a26-4519-bac9-b9dc3b56fe08" providerId="ADAL" clId="{5A8A7853-ED56-C94C-8253-E4AED203FB5D}" dt="2024-04-06T00:11:16.795" v="348" actId="1076"/>
          <ac:spMkLst>
            <pc:docMk/>
            <pc:sldMk cId="1296542655" sldId="314"/>
            <ac:spMk id="24" creationId="{8D5D6503-B9F7-CD38-0D09-FD91D4C0D589}"/>
          </ac:spMkLst>
        </pc:spChg>
        <pc:spChg chg="add mod">
          <ac:chgData name="Kavyasri Jadala" userId="db687c12-7a26-4519-bac9-b9dc3b56fe08" providerId="ADAL" clId="{5A8A7853-ED56-C94C-8253-E4AED203FB5D}" dt="2024-04-06T00:10:58.756" v="344" actId="14100"/>
          <ac:spMkLst>
            <pc:docMk/>
            <pc:sldMk cId="1296542655" sldId="314"/>
            <ac:spMk id="39" creationId="{9527F1DF-1417-80B3-7C6F-46AB29556987}"/>
          </ac:spMkLst>
        </pc:spChg>
        <pc:spChg chg="add mod">
          <ac:chgData name="Kavyasri Jadala" userId="db687c12-7a26-4519-bac9-b9dc3b56fe08" providerId="ADAL" clId="{5A8A7853-ED56-C94C-8253-E4AED203FB5D}" dt="2024-04-06T00:11:06.661" v="346" actId="1076"/>
          <ac:spMkLst>
            <pc:docMk/>
            <pc:sldMk cId="1296542655" sldId="314"/>
            <ac:spMk id="40" creationId="{88201D46-FF73-4718-43DB-681D08BBCB0E}"/>
          </ac:spMkLst>
        </pc:spChg>
        <pc:grpChg chg="del">
          <ac:chgData name="Kavyasri Jadala" userId="db687c12-7a26-4519-bac9-b9dc3b56fe08" providerId="ADAL" clId="{5A8A7853-ED56-C94C-8253-E4AED203FB5D}" dt="2024-04-06T00:03:32.483" v="229" actId="478"/>
          <ac:grpSpMkLst>
            <pc:docMk/>
            <pc:sldMk cId="1296542655" sldId="314"/>
            <ac:grpSpMk id="2" creationId="{C9C31E59-AE4C-38F3-898E-53C87ACD61BD}"/>
          </ac:grpSpMkLst>
        </pc:grpChg>
        <pc:grpChg chg="del">
          <ac:chgData name="Kavyasri Jadala" userId="db687c12-7a26-4519-bac9-b9dc3b56fe08" providerId="ADAL" clId="{5A8A7853-ED56-C94C-8253-E4AED203FB5D}" dt="2024-04-06T00:03:48.024" v="232" actId="478"/>
          <ac:grpSpMkLst>
            <pc:docMk/>
            <pc:sldMk cId="1296542655" sldId="314"/>
            <ac:grpSpMk id="14" creationId="{7E3E0AA2-43A7-89CD-BF47-842B658D7DE2}"/>
          </ac:grpSpMkLst>
        </pc:grpChg>
        <pc:grpChg chg="del">
          <ac:chgData name="Kavyasri Jadala" userId="db687c12-7a26-4519-bac9-b9dc3b56fe08" providerId="ADAL" clId="{5A8A7853-ED56-C94C-8253-E4AED203FB5D}" dt="2024-04-06T00:03:54.925" v="234" actId="478"/>
          <ac:grpSpMkLst>
            <pc:docMk/>
            <pc:sldMk cId="1296542655" sldId="314"/>
            <ac:grpSpMk id="31" creationId="{7CBC168D-C417-4D01-DD57-ECDCDD095E4C}"/>
          </ac:grpSpMkLst>
        </pc:grpChg>
        <pc:picChg chg="add del mod">
          <ac:chgData name="Kavyasri Jadala" userId="db687c12-7a26-4519-bac9-b9dc3b56fe08" providerId="ADAL" clId="{5A8A7853-ED56-C94C-8253-E4AED203FB5D}" dt="2024-04-06T00:07:12.693" v="313" actId="207"/>
          <ac:picMkLst>
            <pc:docMk/>
            <pc:sldMk cId="1296542655" sldId="314"/>
            <ac:picMk id="3" creationId="{6563DF79-2429-087E-94BD-2E3A3E1E49F8}"/>
          </ac:picMkLst>
        </pc:picChg>
        <pc:picChg chg="add del mod">
          <ac:chgData name="Kavyasri Jadala" userId="db687c12-7a26-4519-bac9-b9dc3b56fe08" providerId="ADAL" clId="{5A8A7853-ED56-C94C-8253-E4AED203FB5D}" dt="2024-04-06T00:10:20.245" v="337" actId="478"/>
          <ac:picMkLst>
            <pc:docMk/>
            <pc:sldMk cId="1296542655" sldId="314"/>
            <ac:picMk id="4" creationId="{FF1C070F-F990-90E6-0892-290AD172307D}"/>
          </ac:picMkLst>
        </pc:picChg>
        <pc:picChg chg="add mod">
          <ac:chgData name="Kavyasri Jadala" userId="db687c12-7a26-4519-bac9-b9dc3b56fe08" providerId="ADAL" clId="{5A8A7853-ED56-C94C-8253-E4AED203FB5D}" dt="2024-04-06T00:06:19.565" v="295" actId="1076"/>
          <ac:picMkLst>
            <pc:docMk/>
            <pc:sldMk cId="1296542655" sldId="314"/>
            <ac:picMk id="19" creationId="{3AF69E54-5DBF-40DB-8393-EDBC712EE8BC}"/>
          </ac:picMkLst>
        </pc:picChg>
        <pc:picChg chg="add mod">
          <ac:chgData name="Kavyasri Jadala" userId="db687c12-7a26-4519-bac9-b9dc3b56fe08" providerId="ADAL" clId="{5A8A7853-ED56-C94C-8253-E4AED203FB5D}" dt="2024-04-06T00:08:51.404" v="321" actId="1076"/>
          <ac:picMkLst>
            <pc:docMk/>
            <pc:sldMk cId="1296542655" sldId="314"/>
            <ac:picMk id="38" creationId="{D269A91D-F4E2-3163-35A1-1B8A9CADD6F3}"/>
          </ac:picMkLst>
        </pc:picChg>
        <pc:picChg chg="add mod">
          <ac:chgData name="Kavyasri Jadala" userId="db687c12-7a26-4519-bac9-b9dc3b56fe08" providerId="ADAL" clId="{5A8A7853-ED56-C94C-8253-E4AED203FB5D}" dt="2024-04-06T00:11:02.687" v="345" actId="208"/>
          <ac:picMkLst>
            <pc:docMk/>
            <pc:sldMk cId="1296542655" sldId="314"/>
            <ac:picMk id="42" creationId="{B3B2EEE8-41D6-3C73-71EB-7F71948E5B82}"/>
          </ac:picMkLst>
        </pc:picChg>
        <pc:picChg chg="add del mod">
          <ac:chgData name="Kavyasri Jadala" userId="db687c12-7a26-4519-bac9-b9dc3b56fe08" providerId="ADAL" clId="{5A8A7853-ED56-C94C-8253-E4AED203FB5D}" dt="2024-04-06T01:42:26.423" v="398"/>
          <ac:picMkLst>
            <pc:docMk/>
            <pc:sldMk cId="1296542655" sldId="314"/>
            <ac:picMk id="43" creationId="{2C655546-D814-0BBD-EC42-00252B6C0B1C}"/>
          </ac:picMkLst>
        </pc:picChg>
        <pc:picChg chg="add mod">
          <ac:chgData name="Kavyasri Jadala" userId="db687c12-7a26-4519-bac9-b9dc3b56fe08" providerId="ADAL" clId="{5A8A7853-ED56-C94C-8253-E4AED203FB5D}" dt="2024-04-06T01:47:23.776" v="402" actId="11530"/>
          <ac:picMkLst>
            <pc:docMk/>
            <pc:sldMk cId="1296542655" sldId="314"/>
            <ac:picMk id="44" creationId="{A45CCF05-F4C9-AEA8-3AEF-589059EEA343}"/>
          </ac:picMkLst>
        </pc:picChg>
        <pc:cxnChg chg="add mod">
          <ac:chgData name="Kavyasri Jadala" userId="db687c12-7a26-4519-bac9-b9dc3b56fe08" providerId="ADAL" clId="{5A8A7853-ED56-C94C-8253-E4AED203FB5D}" dt="2024-04-06T00:06:03.980" v="289" actId="14100"/>
          <ac:cxnSpMkLst>
            <pc:docMk/>
            <pc:sldMk cId="1296542655" sldId="314"/>
            <ac:cxnSpMk id="6" creationId="{C9CB5837-A8ED-9B68-F3AE-451AB54C2741}"/>
          </ac:cxnSpMkLst>
        </pc:cxnChg>
        <pc:cxnChg chg="add mod">
          <ac:chgData name="Kavyasri Jadala" userId="db687c12-7a26-4519-bac9-b9dc3b56fe08" providerId="ADAL" clId="{5A8A7853-ED56-C94C-8253-E4AED203FB5D}" dt="2024-04-06T00:07:00.671" v="311" actId="1076"/>
          <ac:cxnSpMkLst>
            <pc:docMk/>
            <pc:sldMk cId="1296542655" sldId="314"/>
            <ac:cxnSpMk id="22" creationId="{7BE53497-44DE-4ACD-17A4-1400691875E5}"/>
          </ac:cxnSpMkLst>
        </pc:cxnChg>
      </pc:sldChg>
      <pc:sldChg chg="modSp mod">
        <pc:chgData name="Kavyasri Jadala" userId="db687c12-7a26-4519-bac9-b9dc3b56fe08" providerId="ADAL" clId="{5A8A7853-ED56-C94C-8253-E4AED203FB5D}" dt="2024-04-06T01:52:42.371" v="425" actId="14100"/>
        <pc:sldMkLst>
          <pc:docMk/>
          <pc:sldMk cId="1375742372" sldId="315"/>
        </pc:sldMkLst>
        <pc:picChg chg="mod">
          <ac:chgData name="Kavyasri Jadala" userId="db687c12-7a26-4519-bac9-b9dc3b56fe08" providerId="ADAL" clId="{5A8A7853-ED56-C94C-8253-E4AED203FB5D}" dt="2024-04-06T01:52:42.371" v="425" actId="14100"/>
          <ac:picMkLst>
            <pc:docMk/>
            <pc:sldMk cId="1375742372" sldId="315"/>
            <ac:picMk id="7" creationId="{B00DE3F3-24F4-136B-C30C-CF68EF641DEC}"/>
          </ac:picMkLst>
        </pc:picChg>
      </pc:sldChg>
    </pc:docChg>
  </pc:docChgLst>
  <pc:docChgLst>
    <pc:chgData name="Prathyusha reddy Midudhula" userId="S::pmidudhu@purdue.edu::5bd57edf-abe2-4b63-9242-7af58fe5fd82" providerId="AD" clId="Web-{78436339-CF11-C89E-48AA-81A766179A41}"/>
    <pc:docChg chg="delSld modSld">
      <pc:chgData name="Prathyusha reddy Midudhula" userId="S::pmidudhu@purdue.edu::5bd57edf-abe2-4b63-9242-7af58fe5fd82" providerId="AD" clId="Web-{78436339-CF11-C89E-48AA-81A766179A41}" dt="2024-04-06T00:15:46.822" v="5"/>
      <pc:docMkLst>
        <pc:docMk/>
      </pc:docMkLst>
      <pc:sldChg chg="del">
        <pc:chgData name="Prathyusha reddy Midudhula" userId="S::pmidudhu@purdue.edu::5bd57edf-abe2-4b63-9242-7af58fe5fd82" providerId="AD" clId="Web-{78436339-CF11-C89E-48AA-81A766179A41}" dt="2024-04-05T23:46:40.146" v="0"/>
        <pc:sldMkLst>
          <pc:docMk/>
          <pc:sldMk cId="3580028020" sldId="304"/>
        </pc:sldMkLst>
      </pc:sldChg>
      <pc:sldChg chg="modSp">
        <pc:chgData name="Prathyusha reddy Midudhula" userId="S::pmidudhu@purdue.edu::5bd57edf-abe2-4b63-9242-7af58fe5fd82" providerId="AD" clId="Web-{78436339-CF11-C89E-48AA-81A766179A41}" dt="2024-04-06T00:15:46.822" v="5"/>
        <pc:sldMkLst>
          <pc:docMk/>
          <pc:sldMk cId="2934764307" sldId="308"/>
        </pc:sldMkLst>
        <pc:picChg chg="mod">
          <ac:chgData name="Prathyusha reddy Midudhula" userId="S::pmidudhu@purdue.edu::5bd57edf-abe2-4b63-9242-7af58fe5fd82" providerId="AD" clId="Web-{78436339-CF11-C89E-48AA-81A766179A41}" dt="2024-04-06T00:15:46.822" v="5"/>
          <ac:picMkLst>
            <pc:docMk/>
            <pc:sldMk cId="2934764307" sldId="308"/>
            <ac:picMk id="3" creationId="{DE0EA766-F22A-F301-8CCF-1AC95AD2F50B}"/>
          </ac:picMkLst>
        </pc:picChg>
      </pc:sldChg>
    </pc:docChg>
  </pc:docChgLst>
  <pc:docChgLst>
    <pc:chgData name="Prathyusha reddy Midudhula" userId="S::pmidudhu@purdue.edu::5bd57edf-abe2-4b63-9242-7af58fe5fd82" providerId="AD" clId="Web-{8890CC3D-45F1-418C-CCA9-35AD2EE5BDDF}"/>
    <pc:docChg chg="addSld delSld modSld">
      <pc:chgData name="Prathyusha reddy Midudhula" userId="S::pmidudhu@purdue.edu::5bd57edf-abe2-4b63-9242-7af58fe5fd82" providerId="AD" clId="Web-{8890CC3D-45F1-418C-CCA9-35AD2EE5BDDF}" dt="2024-04-05T20:08:36.637" v="48"/>
      <pc:docMkLst>
        <pc:docMk/>
      </pc:docMkLst>
      <pc:sldChg chg="addSp delSp modSp add del">
        <pc:chgData name="Prathyusha reddy Midudhula" userId="S::pmidudhu@purdue.edu::5bd57edf-abe2-4b63-9242-7af58fe5fd82" providerId="AD" clId="Web-{8890CC3D-45F1-418C-CCA9-35AD2EE5BDDF}" dt="2024-04-05T20:08:36.637" v="48"/>
        <pc:sldMkLst>
          <pc:docMk/>
          <pc:sldMk cId="3580028020" sldId="304"/>
        </pc:sldMkLst>
        <pc:picChg chg="add del mod">
          <ac:chgData name="Prathyusha reddy Midudhula" userId="S::pmidudhu@purdue.edu::5bd57edf-abe2-4b63-9242-7af58fe5fd82" providerId="AD" clId="Web-{8890CC3D-45F1-418C-CCA9-35AD2EE5BDDF}" dt="2024-04-05T20:08:36.637" v="48"/>
          <ac:picMkLst>
            <pc:docMk/>
            <pc:sldMk cId="3580028020" sldId="304"/>
            <ac:picMk id="72" creationId="{0B199B7A-4390-C757-5E55-003C93C316CC}"/>
          </ac:picMkLst>
        </pc:picChg>
      </pc:sldChg>
      <pc:sldChg chg="addSp delSp modSp new addAnim">
        <pc:chgData name="Prathyusha reddy Midudhula" userId="S::pmidudhu@purdue.edu::5bd57edf-abe2-4b63-9242-7af58fe5fd82" providerId="AD" clId="Web-{8890CC3D-45F1-418C-CCA9-35AD2EE5BDDF}" dt="2024-04-05T20:06:39.556" v="47" actId="1076"/>
        <pc:sldMkLst>
          <pc:docMk/>
          <pc:sldMk cId="2934764307" sldId="308"/>
        </pc:sldMkLst>
        <pc:spChg chg="del">
          <ac:chgData name="Prathyusha reddy Midudhula" userId="S::pmidudhu@purdue.edu::5bd57edf-abe2-4b63-9242-7af58fe5fd82" providerId="AD" clId="Web-{8890CC3D-45F1-418C-CCA9-35AD2EE5BDDF}" dt="2024-04-05T20:01:35.877" v="25"/>
          <ac:spMkLst>
            <pc:docMk/>
            <pc:sldMk cId="2934764307" sldId="308"/>
            <ac:spMk id="2" creationId="{519D6911-4546-0EEF-07ED-3F35699DD9B2}"/>
          </ac:spMkLst>
        </pc:spChg>
        <pc:picChg chg="add mod">
          <ac:chgData name="Prathyusha reddy Midudhula" userId="S::pmidudhu@purdue.edu::5bd57edf-abe2-4b63-9242-7af58fe5fd82" providerId="AD" clId="Web-{8890CC3D-45F1-418C-CCA9-35AD2EE5BDDF}" dt="2024-04-05T20:03:59.146" v="33"/>
          <ac:picMkLst>
            <pc:docMk/>
            <pc:sldMk cId="2934764307" sldId="308"/>
            <ac:picMk id="3" creationId="{DE0EA766-F22A-F301-8CCF-1AC95AD2F50B}"/>
          </ac:picMkLst>
        </pc:picChg>
        <pc:picChg chg="add mod">
          <ac:chgData name="Prathyusha reddy Midudhula" userId="S::pmidudhu@purdue.edu::5bd57edf-abe2-4b63-9242-7af58fe5fd82" providerId="AD" clId="Web-{8890CC3D-45F1-418C-CCA9-35AD2EE5BDDF}" dt="2024-04-05T20:04:59.929" v="37" actId="1076"/>
          <ac:picMkLst>
            <pc:docMk/>
            <pc:sldMk cId="2934764307" sldId="308"/>
            <ac:picMk id="4" creationId="{8F48B7B5-C288-7CBC-8F35-7C48948A0CE0}"/>
          </ac:picMkLst>
        </pc:picChg>
        <pc:picChg chg="add mod">
          <ac:chgData name="Prathyusha reddy Midudhula" userId="S::pmidudhu@purdue.edu::5bd57edf-abe2-4b63-9242-7af58fe5fd82" providerId="AD" clId="Web-{8890CC3D-45F1-418C-CCA9-35AD2EE5BDDF}" dt="2024-04-05T20:05:28.351" v="42" actId="1076"/>
          <ac:picMkLst>
            <pc:docMk/>
            <pc:sldMk cId="2934764307" sldId="308"/>
            <ac:picMk id="5" creationId="{9BD7F191-A222-4B37-ED3B-8255642DEE80}"/>
          </ac:picMkLst>
        </pc:picChg>
        <pc:picChg chg="add mod">
          <ac:chgData name="Prathyusha reddy Midudhula" userId="S::pmidudhu@purdue.edu::5bd57edf-abe2-4b63-9242-7af58fe5fd82" providerId="AD" clId="Web-{8890CC3D-45F1-418C-CCA9-35AD2EE5BDDF}" dt="2024-04-05T20:06:39.556" v="47" actId="1076"/>
          <ac:picMkLst>
            <pc:docMk/>
            <pc:sldMk cId="2934764307" sldId="308"/>
            <ac:picMk id="7" creationId="{EC7EFFC4-DE74-EE2F-C775-3CBDCF915E49}"/>
          </ac:picMkLst>
        </pc:picChg>
      </pc:sldChg>
      <pc:sldChg chg="add del">
        <pc:chgData name="Prathyusha reddy Midudhula" userId="S::pmidudhu@purdue.edu::5bd57edf-abe2-4b63-9242-7af58fe5fd82" providerId="AD" clId="Web-{8890CC3D-45F1-418C-CCA9-35AD2EE5BDDF}" dt="2024-04-05T19:58:49.357" v="10"/>
        <pc:sldMkLst>
          <pc:docMk/>
          <pc:sldMk cId="1754392878" sldId="309"/>
        </pc:sldMkLst>
      </pc:sldChg>
      <pc:sldChg chg="add del">
        <pc:chgData name="Prathyusha reddy Midudhula" userId="S::pmidudhu@purdue.edu::5bd57edf-abe2-4b63-9242-7af58fe5fd82" providerId="AD" clId="Web-{8890CC3D-45F1-418C-CCA9-35AD2EE5BDDF}" dt="2024-04-05T20:05:55.993" v="44"/>
        <pc:sldMkLst>
          <pc:docMk/>
          <pc:sldMk cId="2855855200" sldId="312"/>
        </pc:sldMkLst>
      </pc:sldChg>
    </pc:docChg>
  </pc:docChgLst>
  <pc:docChgLst>
    <pc:chgData name="Chinmay Gidwani" userId="b3406104-db5b-4e7b-a5f2-18cd0ec2c26e" providerId="ADAL" clId="{39315BDF-CDCF-4CB5-945B-BC9A2FF459D5}"/>
    <pc:docChg chg="undo custSel addSld delSld modSld">
      <pc:chgData name="Chinmay Gidwani" userId="b3406104-db5b-4e7b-a5f2-18cd0ec2c26e" providerId="ADAL" clId="{39315BDF-CDCF-4CB5-945B-BC9A2FF459D5}" dt="2024-04-06T02:46:13.139" v="736"/>
      <pc:docMkLst>
        <pc:docMk/>
      </pc:docMkLst>
      <pc:sldChg chg="modTransition">
        <pc:chgData name="Chinmay Gidwani" userId="b3406104-db5b-4e7b-a5f2-18cd0ec2c26e" providerId="ADAL" clId="{39315BDF-CDCF-4CB5-945B-BC9A2FF459D5}" dt="2024-04-05T01:40:50.773" v="2"/>
        <pc:sldMkLst>
          <pc:docMk/>
          <pc:sldMk cId="0" sldId="256"/>
        </pc:sldMkLst>
      </pc:sldChg>
      <pc:sldChg chg="modTransition">
        <pc:chgData name="Chinmay Gidwani" userId="b3406104-db5b-4e7b-a5f2-18cd0ec2c26e" providerId="ADAL" clId="{39315BDF-CDCF-4CB5-945B-BC9A2FF459D5}" dt="2024-04-05T01:40:50.773" v="2"/>
        <pc:sldMkLst>
          <pc:docMk/>
          <pc:sldMk cId="1501710035" sldId="257"/>
        </pc:sldMkLst>
      </pc:sldChg>
      <pc:sldChg chg="modTransition">
        <pc:chgData name="Chinmay Gidwani" userId="b3406104-db5b-4e7b-a5f2-18cd0ec2c26e" providerId="ADAL" clId="{39315BDF-CDCF-4CB5-945B-BC9A2FF459D5}" dt="2024-04-05T01:40:50.773" v="2"/>
        <pc:sldMkLst>
          <pc:docMk/>
          <pc:sldMk cId="3486536797" sldId="258"/>
        </pc:sldMkLst>
      </pc:sldChg>
      <pc:sldChg chg="modTransition">
        <pc:chgData name="Chinmay Gidwani" userId="b3406104-db5b-4e7b-a5f2-18cd0ec2c26e" providerId="ADAL" clId="{39315BDF-CDCF-4CB5-945B-BC9A2FF459D5}" dt="2024-04-05T01:40:50.773" v="2"/>
        <pc:sldMkLst>
          <pc:docMk/>
          <pc:sldMk cId="587836315" sldId="259"/>
        </pc:sldMkLst>
      </pc:sldChg>
      <pc:sldChg chg="modTransition">
        <pc:chgData name="Chinmay Gidwani" userId="b3406104-db5b-4e7b-a5f2-18cd0ec2c26e" providerId="ADAL" clId="{39315BDF-CDCF-4CB5-945B-BC9A2FF459D5}" dt="2024-04-05T01:40:50.773" v="2"/>
        <pc:sldMkLst>
          <pc:docMk/>
          <pc:sldMk cId="4197955215" sldId="284"/>
        </pc:sldMkLst>
      </pc:sldChg>
      <pc:sldChg chg="modTransition">
        <pc:chgData name="Chinmay Gidwani" userId="b3406104-db5b-4e7b-a5f2-18cd0ec2c26e" providerId="ADAL" clId="{39315BDF-CDCF-4CB5-945B-BC9A2FF459D5}" dt="2024-04-05T01:40:50.773" v="2"/>
        <pc:sldMkLst>
          <pc:docMk/>
          <pc:sldMk cId="3836485395" sldId="289"/>
        </pc:sldMkLst>
      </pc:sldChg>
      <pc:sldChg chg="modTransition">
        <pc:chgData name="Chinmay Gidwani" userId="b3406104-db5b-4e7b-a5f2-18cd0ec2c26e" providerId="ADAL" clId="{39315BDF-CDCF-4CB5-945B-BC9A2FF459D5}" dt="2024-04-05T01:40:50.773" v="2"/>
        <pc:sldMkLst>
          <pc:docMk/>
          <pc:sldMk cId="2313829355" sldId="290"/>
        </pc:sldMkLst>
      </pc:sldChg>
      <pc:sldChg chg="modTransition">
        <pc:chgData name="Chinmay Gidwani" userId="b3406104-db5b-4e7b-a5f2-18cd0ec2c26e" providerId="ADAL" clId="{39315BDF-CDCF-4CB5-945B-BC9A2FF459D5}" dt="2024-04-05T01:40:50.773" v="2"/>
        <pc:sldMkLst>
          <pc:docMk/>
          <pc:sldMk cId="2234949474" sldId="291"/>
        </pc:sldMkLst>
      </pc:sldChg>
      <pc:sldChg chg="modTransition">
        <pc:chgData name="Chinmay Gidwani" userId="b3406104-db5b-4e7b-a5f2-18cd0ec2c26e" providerId="ADAL" clId="{39315BDF-CDCF-4CB5-945B-BC9A2FF459D5}" dt="2024-04-05T01:40:50.773" v="2"/>
        <pc:sldMkLst>
          <pc:docMk/>
          <pc:sldMk cId="1621701870" sldId="292"/>
        </pc:sldMkLst>
      </pc:sldChg>
      <pc:sldChg chg="modTransition">
        <pc:chgData name="Chinmay Gidwani" userId="b3406104-db5b-4e7b-a5f2-18cd0ec2c26e" providerId="ADAL" clId="{39315BDF-CDCF-4CB5-945B-BC9A2FF459D5}" dt="2024-04-05T01:40:50.773" v="2"/>
        <pc:sldMkLst>
          <pc:docMk/>
          <pc:sldMk cId="1056162311" sldId="293"/>
        </pc:sldMkLst>
      </pc:sldChg>
      <pc:sldChg chg="delSp modTransition modAnim">
        <pc:chgData name="Chinmay Gidwani" userId="b3406104-db5b-4e7b-a5f2-18cd0ec2c26e" providerId="ADAL" clId="{39315BDF-CDCF-4CB5-945B-BC9A2FF459D5}" dt="2024-04-05T01:40:50.773" v="2"/>
        <pc:sldMkLst>
          <pc:docMk/>
          <pc:sldMk cId="2883538080" sldId="294"/>
        </pc:sldMkLst>
        <pc:picChg chg="del">
          <ac:chgData name="Chinmay Gidwani" userId="b3406104-db5b-4e7b-a5f2-18cd0ec2c26e" providerId="ADAL" clId="{39315BDF-CDCF-4CB5-945B-BC9A2FF459D5}" dt="2024-04-05T01:40:50.773" v="2"/>
          <ac:picMkLst>
            <pc:docMk/>
            <pc:sldMk cId="2883538080" sldId="294"/>
            <ac:picMk id="4" creationId="{73E3BA17-FF2A-C333-EB7E-55CD7210CDEF}"/>
          </ac:picMkLst>
        </pc:picChg>
      </pc:sldChg>
      <pc:sldChg chg="mod modTransition modShow">
        <pc:chgData name="Chinmay Gidwani" userId="b3406104-db5b-4e7b-a5f2-18cd0ec2c26e" providerId="ADAL" clId="{39315BDF-CDCF-4CB5-945B-BC9A2FF459D5}" dt="2024-04-05T01:40:50.773" v="2"/>
        <pc:sldMkLst>
          <pc:docMk/>
          <pc:sldMk cId="696494857" sldId="295"/>
        </pc:sldMkLst>
      </pc:sldChg>
      <pc:sldChg chg="mod modTransition modShow">
        <pc:chgData name="Chinmay Gidwani" userId="b3406104-db5b-4e7b-a5f2-18cd0ec2c26e" providerId="ADAL" clId="{39315BDF-CDCF-4CB5-945B-BC9A2FF459D5}" dt="2024-04-05T01:40:50.773" v="2"/>
        <pc:sldMkLst>
          <pc:docMk/>
          <pc:sldMk cId="3929820253" sldId="296"/>
        </pc:sldMkLst>
      </pc:sldChg>
      <pc:sldChg chg="mod modTransition modShow">
        <pc:chgData name="Chinmay Gidwani" userId="b3406104-db5b-4e7b-a5f2-18cd0ec2c26e" providerId="ADAL" clId="{39315BDF-CDCF-4CB5-945B-BC9A2FF459D5}" dt="2024-04-05T01:40:50.773" v="2"/>
        <pc:sldMkLst>
          <pc:docMk/>
          <pc:sldMk cId="1719829871" sldId="297"/>
        </pc:sldMkLst>
      </pc:sldChg>
      <pc:sldChg chg="mod modTransition modShow">
        <pc:chgData name="Chinmay Gidwani" userId="b3406104-db5b-4e7b-a5f2-18cd0ec2c26e" providerId="ADAL" clId="{39315BDF-CDCF-4CB5-945B-BC9A2FF459D5}" dt="2024-04-05T01:40:50.773" v="2"/>
        <pc:sldMkLst>
          <pc:docMk/>
          <pc:sldMk cId="2102328602" sldId="298"/>
        </pc:sldMkLst>
      </pc:sldChg>
      <pc:sldChg chg="mod modTransition modShow">
        <pc:chgData name="Chinmay Gidwani" userId="b3406104-db5b-4e7b-a5f2-18cd0ec2c26e" providerId="ADAL" clId="{39315BDF-CDCF-4CB5-945B-BC9A2FF459D5}" dt="2024-04-05T01:40:50.773" v="2"/>
        <pc:sldMkLst>
          <pc:docMk/>
          <pc:sldMk cId="3622594882" sldId="299"/>
        </pc:sldMkLst>
      </pc:sldChg>
      <pc:sldChg chg="mod modTransition modShow">
        <pc:chgData name="Chinmay Gidwani" userId="b3406104-db5b-4e7b-a5f2-18cd0ec2c26e" providerId="ADAL" clId="{39315BDF-CDCF-4CB5-945B-BC9A2FF459D5}" dt="2024-04-05T01:40:50.773" v="2"/>
        <pc:sldMkLst>
          <pc:docMk/>
          <pc:sldMk cId="2725731433" sldId="300"/>
        </pc:sldMkLst>
      </pc:sldChg>
      <pc:sldChg chg="delSp modSp add del mod modTransition modAnim">
        <pc:chgData name="Chinmay Gidwani" userId="b3406104-db5b-4e7b-a5f2-18cd0ec2c26e" providerId="ADAL" clId="{39315BDF-CDCF-4CB5-945B-BC9A2FF459D5}" dt="2024-04-06T02:43:34.987" v="727" actId="47"/>
        <pc:sldMkLst>
          <pc:docMk/>
          <pc:sldMk cId="2277792554" sldId="301"/>
        </pc:sldMkLst>
        <pc:spChg chg="mod">
          <ac:chgData name="Chinmay Gidwani" userId="b3406104-db5b-4e7b-a5f2-18cd0ec2c26e" providerId="ADAL" clId="{39315BDF-CDCF-4CB5-945B-BC9A2FF459D5}" dt="2024-04-06T02:20:05.990" v="148" actId="1076"/>
          <ac:spMkLst>
            <pc:docMk/>
            <pc:sldMk cId="2277792554" sldId="301"/>
            <ac:spMk id="45" creationId="{FA7F81D2-A90C-178D-CA5B-7F578ABC355F}"/>
          </ac:spMkLst>
        </pc:spChg>
        <pc:picChg chg="del">
          <ac:chgData name="Chinmay Gidwani" userId="b3406104-db5b-4e7b-a5f2-18cd0ec2c26e" providerId="ADAL" clId="{39315BDF-CDCF-4CB5-945B-BC9A2FF459D5}" dt="2024-04-05T19:38:58.288" v="3" actId="478"/>
          <ac:picMkLst>
            <pc:docMk/>
            <pc:sldMk cId="2277792554" sldId="301"/>
            <ac:picMk id="77" creationId="{6F72702F-05EF-6581-36A8-39E3E7570766}"/>
          </ac:picMkLst>
        </pc:picChg>
        <pc:picChg chg="del">
          <ac:chgData name="Chinmay Gidwani" userId="b3406104-db5b-4e7b-a5f2-18cd0ec2c26e" providerId="ADAL" clId="{39315BDF-CDCF-4CB5-945B-BC9A2FF459D5}" dt="2024-04-05T01:40:50.773" v="2"/>
          <ac:picMkLst>
            <pc:docMk/>
            <pc:sldMk cId="2277792554" sldId="301"/>
            <ac:picMk id="129" creationId="{15883C39-C653-78BE-8063-F4B6E4803962}"/>
          </ac:picMkLst>
        </pc:picChg>
      </pc:sldChg>
      <pc:sldChg chg="delSp modTransition modAnim">
        <pc:chgData name="Chinmay Gidwani" userId="b3406104-db5b-4e7b-a5f2-18cd0ec2c26e" providerId="ADAL" clId="{39315BDF-CDCF-4CB5-945B-BC9A2FF459D5}" dt="2024-04-05T01:40:50.773" v="2"/>
        <pc:sldMkLst>
          <pc:docMk/>
          <pc:sldMk cId="2928195632" sldId="302"/>
        </pc:sldMkLst>
        <pc:picChg chg="del">
          <ac:chgData name="Chinmay Gidwani" userId="b3406104-db5b-4e7b-a5f2-18cd0ec2c26e" providerId="ADAL" clId="{39315BDF-CDCF-4CB5-945B-BC9A2FF459D5}" dt="2024-04-05T01:40:50.773" v="2"/>
          <ac:picMkLst>
            <pc:docMk/>
            <pc:sldMk cId="2928195632" sldId="302"/>
            <ac:picMk id="129" creationId="{15883C39-C653-78BE-8063-F4B6E4803962}"/>
          </ac:picMkLst>
        </pc:picChg>
      </pc:sldChg>
      <pc:sldChg chg="delSp modTransition modAnim">
        <pc:chgData name="Chinmay Gidwani" userId="b3406104-db5b-4e7b-a5f2-18cd0ec2c26e" providerId="ADAL" clId="{39315BDF-CDCF-4CB5-945B-BC9A2FF459D5}" dt="2024-04-05T01:40:50.773" v="2"/>
        <pc:sldMkLst>
          <pc:docMk/>
          <pc:sldMk cId="3992522977" sldId="303"/>
        </pc:sldMkLst>
        <pc:picChg chg="del">
          <ac:chgData name="Chinmay Gidwani" userId="b3406104-db5b-4e7b-a5f2-18cd0ec2c26e" providerId="ADAL" clId="{39315BDF-CDCF-4CB5-945B-BC9A2FF459D5}" dt="2024-04-05T01:40:50.773" v="2"/>
          <ac:picMkLst>
            <pc:docMk/>
            <pc:sldMk cId="3992522977" sldId="303"/>
            <ac:picMk id="129" creationId="{15883C39-C653-78BE-8063-F4B6E4803962}"/>
          </ac:picMkLst>
        </pc:picChg>
      </pc:sldChg>
      <pc:sldChg chg="delSp modTransition modAnim">
        <pc:chgData name="Chinmay Gidwani" userId="b3406104-db5b-4e7b-a5f2-18cd0ec2c26e" providerId="ADAL" clId="{39315BDF-CDCF-4CB5-945B-BC9A2FF459D5}" dt="2024-04-05T01:40:50.773" v="2"/>
        <pc:sldMkLst>
          <pc:docMk/>
          <pc:sldMk cId="3580028020" sldId="304"/>
        </pc:sldMkLst>
        <pc:picChg chg="del">
          <ac:chgData name="Chinmay Gidwani" userId="b3406104-db5b-4e7b-a5f2-18cd0ec2c26e" providerId="ADAL" clId="{39315BDF-CDCF-4CB5-945B-BC9A2FF459D5}" dt="2024-04-05T01:40:50.773" v="2"/>
          <ac:picMkLst>
            <pc:docMk/>
            <pc:sldMk cId="3580028020" sldId="304"/>
            <ac:picMk id="129" creationId="{15883C39-C653-78BE-8063-F4B6E4803962}"/>
          </ac:picMkLst>
        </pc:picChg>
      </pc:sldChg>
      <pc:sldChg chg="addSp delSp modSp new mod modTransition modAnim modNotesTx">
        <pc:chgData name="Chinmay Gidwani" userId="b3406104-db5b-4e7b-a5f2-18cd0ec2c26e" providerId="ADAL" clId="{39315BDF-CDCF-4CB5-945B-BC9A2FF459D5}" dt="2024-04-06T02:45:43.221" v="731"/>
        <pc:sldMkLst>
          <pc:docMk/>
          <pc:sldMk cId="2355448305" sldId="305"/>
        </pc:sldMkLst>
        <pc:picChg chg="add mod">
          <ac:chgData name="Chinmay Gidwani" userId="b3406104-db5b-4e7b-a5f2-18cd0ec2c26e" providerId="ADAL" clId="{39315BDF-CDCF-4CB5-945B-BC9A2FF459D5}" dt="2024-04-06T00:17:56.117" v="25" actId="29295"/>
          <ac:picMkLst>
            <pc:docMk/>
            <pc:sldMk cId="2355448305" sldId="305"/>
            <ac:picMk id="3" creationId="{847409A3-8807-B217-2799-957FD856D5A8}"/>
          </ac:picMkLst>
        </pc:picChg>
        <pc:picChg chg="add mod">
          <ac:chgData name="Chinmay Gidwani" userId="b3406104-db5b-4e7b-a5f2-18cd0ec2c26e" providerId="ADAL" clId="{39315BDF-CDCF-4CB5-945B-BC9A2FF459D5}" dt="2024-04-06T00:42:21.768" v="28" actId="1076"/>
          <ac:picMkLst>
            <pc:docMk/>
            <pc:sldMk cId="2355448305" sldId="305"/>
            <ac:picMk id="5" creationId="{C5D22AEC-373A-C598-D61E-77C6AF72E0D5}"/>
          </ac:picMkLst>
        </pc:picChg>
        <pc:picChg chg="add del mod">
          <ac:chgData name="Chinmay Gidwani" userId="b3406104-db5b-4e7b-a5f2-18cd0ec2c26e" providerId="ADAL" clId="{39315BDF-CDCF-4CB5-945B-BC9A2FF459D5}" dt="2024-04-06T00:42:15.882" v="27" actId="478"/>
          <ac:picMkLst>
            <pc:docMk/>
            <pc:sldMk cId="2355448305" sldId="305"/>
            <ac:picMk id="7" creationId="{B00DE3F3-24F4-136B-C30C-CF68EF641DEC}"/>
          </ac:picMkLst>
        </pc:picChg>
        <pc:picChg chg="add del mod">
          <ac:chgData name="Chinmay Gidwani" userId="b3406104-db5b-4e7b-a5f2-18cd0ec2c26e" providerId="ADAL" clId="{39315BDF-CDCF-4CB5-945B-BC9A2FF459D5}" dt="2024-04-06T00:55:22.672" v="105"/>
          <ac:picMkLst>
            <pc:docMk/>
            <pc:sldMk cId="2355448305" sldId="305"/>
            <ac:picMk id="12" creationId="{1A89CF9F-6A77-EDB2-6CEF-750A2B378AEE}"/>
          </ac:picMkLst>
        </pc:picChg>
        <pc:picChg chg="add del mod ord">
          <ac:chgData name="Chinmay Gidwani" userId="b3406104-db5b-4e7b-a5f2-18cd0ec2c26e" providerId="ADAL" clId="{39315BDF-CDCF-4CB5-945B-BC9A2FF459D5}" dt="2024-04-06T00:55:25.779" v="106"/>
          <ac:picMkLst>
            <pc:docMk/>
            <pc:sldMk cId="2355448305" sldId="305"/>
            <ac:picMk id="15" creationId="{7DBAB2FC-1268-B880-4C72-FB6AE2EFE9FB}"/>
          </ac:picMkLst>
        </pc:picChg>
        <pc:picChg chg="add del mod">
          <ac:chgData name="Chinmay Gidwani" userId="b3406104-db5b-4e7b-a5f2-18cd0ec2c26e" providerId="ADAL" clId="{39315BDF-CDCF-4CB5-945B-BC9A2FF459D5}" dt="2024-04-06T00:56:35.518" v="108"/>
          <ac:picMkLst>
            <pc:docMk/>
            <pc:sldMk cId="2355448305" sldId="305"/>
            <ac:picMk id="16" creationId="{E8282B9F-8C7C-21AE-BA39-09E159D0D729}"/>
          </ac:picMkLst>
        </pc:picChg>
        <pc:picChg chg="add del mod ord">
          <ac:chgData name="Chinmay Gidwani" userId="b3406104-db5b-4e7b-a5f2-18cd0ec2c26e" providerId="ADAL" clId="{39315BDF-CDCF-4CB5-945B-BC9A2FF459D5}" dt="2024-04-06T00:56:53.166" v="109"/>
          <ac:picMkLst>
            <pc:docMk/>
            <pc:sldMk cId="2355448305" sldId="305"/>
            <ac:picMk id="20" creationId="{F191CE13-021F-3D29-D5DE-D776D7A9A7D1}"/>
          </ac:picMkLst>
        </pc:picChg>
        <pc:picChg chg="add del mod">
          <ac:chgData name="Chinmay Gidwani" userId="b3406104-db5b-4e7b-a5f2-18cd0ec2c26e" providerId="ADAL" clId="{39315BDF-CDCF-4CB5-945B-BC9A2FF459D5}" dt="2024-04-06T00:57:02.105" v="111"/>
          <ac:picMkLst>
            <pc:docMk/>
            <pc:sldMk cId="2355448305" sldId="305"/>
            <ac:picMk id="21" creationId="{4AA0C01F-74C4-A2A6-5AF6-4FD8BB107CFC}"/>
          </ac:picMkLst>
        </pc:picChg>
        <pc:picChg chg="add del mod ord">
          <ac:chgData name="Chinmay Gidwani" userId="b3406104-db5b-4e7b-a5f2-18cd0ec2c26e" providerId="ADAL" clId="{39315BDF-CDCF-4CB5-945B-BC9A2FF459D5}" dt="2024-04-06T00:57:06.342" v="112"/>
          <ac:picMkLst>
            <pc:docMk/>
            <pc:sldMk cId="2355448305" sldId="305"/>
            <ac:picMk id="24" creationId="{140C1267-60DD-724F-6BD5-A4CBFE7C89EA}"/>
          </ac:picMkLst>
        </pc:picChg>
        <pc:picChg chg="add del mod">
          <ac:chgData name="Chinmay Gidwani" userId="b3406104-db5b-4e7b-a5f2-18cd0ec2c26e" providerId="ADAL" clId="{39315BDF-CDCF-4CB5-945B-BC9A2FF459D5}" dt="2024-04-06T00:59:57.585" v="114"/>
          <ac:picMkLst>
            <pc:docMk/>
            <pc:sldMk cId="2355448305" sldId="305"/>
            <ac:picMk id="25" creationId="{8E38B637-B2CE-EF61-9D01-F83902335110}"/>
          </ac:picMkLst>
        </pc:picChg>
        <pc:picChg chg="add del mod ord">
          <ac:chgData name="Chinmay Gidwani" userId="b3406104-db5b-4e7b-a5f2-18cd0ec2c26e" providerId="ADAL" clId="{39315BDF-CDCF-4CB5-945B-BC9A2FF459D5}" dt="2024-04-06T01:00:44.818" v="115"/>
          <ac:picMkLst>
            <pc:docMk/>
            <pc:sldMk cId="2355448305" sldId="305"/>
            <ac:picMk id="30" creationId="{5D68BB83-53B0-0CDD-7467-3686FB3EB9E9}"/>
          </ac:picMkLst>
        </pc:picChg>
        <pc:picChg chg="add del mod">
          <ac:chgData name="Chinmay Gidwani" userId="b3406104-db5b-4e7b-a5f2-18cd0ec2c26e" providerId="ADAL" clId="{39315BDF-CDCF-4CB5-945B-BC9A2FF459D5}" dt="2024-04-06T01:03:18.441" v="117"/>
          <ac:picMkLst>
            <pc:docMk/>
            <pc:sldMk cId="2355448305" sldId="305"/>
            <ac:picMk id="31" creationId="{13AEAC28-D4B5-50D3-7D81-33102E859BF8}"/>
          </ac:picMkLst>
        </pc:picChg>
        <pc:picChg chg="add del mod ord">
          <ac:chgData name="Chinmay Gidwani" userId="b3406104-db5b-4e7b-a5f2-18cd0ec2c26e" providerId="ADAL" clId="{39315BDF-CDCF-4CB5-945B-BC9A2FF459D5}" dt="2024-04-06T01:03:26.416" v="118"/>
          <ac:picMkLst>
            <pc:docMk/>
            <pc:sldMk cId="2355448305" sldId="305"/>
            <ac:picMk id="34" creationId="{AAF5C02E-FBB0-D13F-D1F2-D62B0EA7D244}"/>
          </ac:picMkLst>
        </pc:picChg>
        <pc:picChg chg="add del mod">
          <ac:chgData name="Chinmay Gidwani" userId="b3406104-db5b-4e7b-a5f2-18cd0ec2c26e" providerId="ADAL" clId="{39315BDF-CDCF-4CB5-945B-BC9A2FF459D5}" dt="2024-04-06T01:05:11.155" v="120"/>
          <ac:picMkLst>
            <pc:docMk/>
            <pc:sldMk cId="2355448305" sldId="305"/>
            <ac:picMk id="35" creationId="{329DE4F1-E2D2-ECF0-C24F-C95F19AE6316}"/>
          </ac:picMkLst>
        </pc:picChg>
        <pc:picChg chg="add del mod ord">
          <ac:chgData name="Chinmay Gidwani" userId="b3406104-db5b-4e7b-a5f2-18cd0ec2c26e" providerId="ADAL" clId="{39315BDF-CDCF-4CB5-945B-BC9A2FF459D5}" dt="2024-04-06T01:05:54.359" v="121"/>
          <ac:picMkLst>
            <pc:docMk/>
            <pc:sldMk cId="2355448305" sldId="305"/>
            <ac:picMk id="38" creationId="{67E630A2-60F2-72F7-56C5-266529DB737B}"/>
          </ac:picMkLst>
        </pc:picChg>
        <pc:picChg chg="add del mod">
          <ac:chgData name="Chinmay Gidwani" userId="b3406104-db5b-4e7b-a5f2-18cd0ec2c26e" providerId="ADAL" clId="{39315BDF-CDCF-4CB5-945B-BC9A2FF459D5}" dt="2024-04-06T01:07:43.996" v="123"/>
          <ac:picMkLst>
            <pc:docMk/>
            <pc:sldMk cId="2355448305" sldId="305"/>
            <ac:picMk id="39" creationId="{716DC4EE-21B4-4416-6413-25869488CB82}"/>
          </ac:picMkLst>
        </pc:picChg>
        <pc:picChg chg="add del mod ord">
          <ac:chgData name="Chinmay Gidwani" userId="b3406104-db5b-4e7b-a5f2-18cd0ec2c26e" providerId="ADAL" clId="{39315BDF-CDCF-4CB5-945B-BC9A2FF459D5}" dt="2024-04-06T01:07:51.378" v="124"/>
          <ac:picMkLst>
            <pc:docMk/>
            <pc:sldMk cId="2355448305" sldId="305"/>
            <ac:picMk id="42" creationId="{BE22D35D-5182-2A7B-214B-C20BB1DBAD44}"/>
          </ac:picMkLst>
        </pc:picChg>
        <pc:picChg chg="add del mod">
          <ac:chgData name="Chinmay Gidwani" userId="b3406104-db5b-4e7b-a5f2-18cd0ec2c26e" providerId="ADAL" clId="{39315BDF-CDCF-4CB5-945B-BC9A2FF459D5}" dt="2024-04-06T01:08:33.784" v="126"/>
          <ac:picMkLst>
            <pc:docMk/>
            <pc:sldMk cId="2355448305" sldId="305"/>
            <ac:picMk id="43" creationId="{BE448FD4-DEF3-AA91-6CD3-9C183740EDCB}"/>
          </ac:picMkLst>
        </pc:picChg>
        <pc:picChg chg="add del mod ord">
          <ac:chgData name="Chinmay Gidwani" userId="b3406104-db5b-4e7b-a5f2-18cd0ec2c26e" providerId="ADAL" clId="{39315BDF-CDCF-4CB5-945B-BC9A2FF459D5}" dt="2024-04-06T01:09:13.601" v="127"/>
          <ac:picMkLst>
            <pc:docMk/>
            <pc:sldMk cId="2355448305" sldId="305"/>
            <ac:picMk id="46" creationId="{E59DD2C4-B774-C3E9-D717-D6A2B81342B0}"/>
          </ac:picMkLst>
        </pc:picChg>
        <pc:picChg chg="add mod">
          <ac:chgData name="Chinmay Gidwani" userId="b3406104-db5b-4e7b-a5f2-18cd0ec2c26e" providerId="ADAL" clId="{39315BDF-CDCF-4CB5-945B-BC9A2FF459D5}" dt="2024-04-06T01:09:13.601" v="127"/>
          <ac:picMkLst>
            <pc:docMk/>
            <pc:sldMk cId="2355448305" sldId="305"/>
            <ac:picMk id="47" creationId="{C8467F1C-6375-FD5E-0A9A-7D6004273A58}"/>
          </ac:picMkLst>
        </pc:picChg>
      </pc:sldChg>
      <pc:sldChg chg="modTransition">
        <pc:chgData name="Chinmay Gidwani" userId="b3406104-db5b-4e7b-a5f2-18cd0ec2c26e" providerId="ADAL" clId="{39315BDF-CDCF-4CB5-945B-BC9A2FF459D5}" dt="2024-04-06T02:46:13.139" v="736"/>
        <pc:sldMkLst>
          <pc:docMk/>
          <pc:sldMk cId="2934764307" sldId="308"/>
        </pc:sldMkLst>
      </pc:sldChg>
      <pc:sldChg chg="modTransition">
        <pc:chgData name="Chinmay Gidwani" userId="b3406104-db5b-4e7b-a5f2-18cd0ec2c26e" providerId="ADAL" clId="{39315BDF-CDCF-4CB5-945B-BC9A2FF459D5}" dt="2024-04-06T02:46:05.228" v="734"/>
        <pc:sldMkLst>
          <pc:docMk/>
          <pc:sldMk cId="4013897666" sldId="312"/>
        </pc:sldMkLst>
      </pc:sldChg>
      <pc:sldChg chg="modTransition">
        <pc:chgData name="Chinmay Gidwani" userId="b3406104-db5b-4e7b-a5f2-18cd0ec2c26e" providerId="ADAL" clId="{39315BDF-CDCF-4CB5-945B-BC9A2FF459D5}" dt="2024-04-06T02:46:09.807" v="735"/>
        <pc:sldMkLst>
          <pc:docMk/>
          <pc:sldMk cId="1296542655" sldId="314"/>
        </pc:sldMkLst>
      </pc:sldChg>
      <pc:sldChg chg="addSp delSp modSp add mod modTransition modNotesTx">
        <pc:chgData name="Chinmay Gidwani" userId="b3406104-db5b-4e7b-a5f2-18cd0ec2c26e" providerId="ADAL" clId="{39315BDF-CDCF-4CB5-945B-BC9A2FF459D5}" dt="2024-04-06T02:45:49.901" v="732"/>
        <pc:sldMkLst>
          <pc:docMk/>
          <pc:sldMk cId="1375742372" sldId="315"/>
        </pc:sldMkLst>
        <pc:picChg chg="del">
          <ac:chgData name="Chinmay Gidwani" userId="b3406104-db5b-4e7b-a5f2-18cd0ec2c26e" providerId="ADAL" clId="{39315BDF-CDCF-4CB5-945B-BC9A2FF459D5}" dt="2024-04-06T00:42:24.899" v="29" actId="478"/>
          <ac:picMkLst>
            <pc:docMk/>
            <pc:sldMk cId="1375742372" sldId="315"/>
            <ac:picMk id="5" creationId="{C5D22AEC-373A-C598-D61E-77C6AF72E0D5}"/>
          </ac:picMkLst>
        </pc:picChg>
        <pc:picChg chg="mod">
          <ac:chgData name="Chinmay Gidwani" userId="b3406104-db5b-4e7b-a5f2-18cd0ec2c26e" providerId="ADAL" clId="{39315BDF-CDCF-4CB5-945B-BC9A2FF459D5}" dt="2024-04-06T00:42:28.797" v="30" actId="1076"/>
          <ac:picMkLst>
            <pc:docMk/>
            <pc:sldMk cId="1375742372" sldId="315"/>
            <ac:picMk id="7" creationId="{B00DE3F3-24F4-136B-C30C-CF68EF641DEC}"/>
          </ac:picMkLst>
        </pc:picChg>
        <pc:picChg chg="add mod">
          <ac:chgData name="Chinmay Gidwani" userId="b3406104-db5b-4e7b-a5f2-18cd0ec2c26e" providerId="ADAL" clId="{39315BDF-CDCF-4CB5-945B-BC9A2FF459D5}" dt="2024-04-06T01:12:18.243" v="128"/>
          <ac:picMkLst>
            <pc:docMk/>
            <pc:sldMk cId="1375742372" sldId="315"/>
            <ac:picMk id="14" creationId="{E2AE772B-08CE-7155-5ED2-D0C65D2F5B10}"/>
          </ac:picMkLst>
        </pc:picChg>
      </pc:sldChg>
      <pc:sldChg chg="addSp delSp modSp add mod modTransition modAnim modNotesTx">
        <pc:chgData name="Chinmay Gidwani" userId="b3406104-db5b-4e7b-a5f2-18cd0ec2c26e" providerId="ADAL" clId="{39315BDF-CDCF-4CB5-945B-BC9A2FF459D5}" dt="2024-04-06T02:45:58.836" v="733"/>
        <pc:sldMkLst>
          <pc:docMk/>
          <pc:sldMk cId="3256331000" sldId="316"/>
        </pc:sldMkLst>
        <pc:picChg chg="add mod modCrop">
          <ac:chgData name="Chinmay Gidwani" userId="b3406104-db5b-4e7b-a5f2-18cd0ec2c26e" providerId="ADAL" clId="{39315BDF-CDCF-4CB5-945B-BC9A2FF459D5}" dt="2024-04-06T02:15:28.458" v="146" actId="1076"/>
          <ac:picMkLst>
            <pc:docMk/>
            <pc:sldMk cId="3256331000" sldId="316"/>
            <ac:picMk id="4" creationId="{D9006C39-63DD-A8CF-5A7F-C9614828C6EB}"/>
          </ac:picMkLst>
        </pc:picChg>
        <pc:picChg chg="del">
          <ac:chgData name="Chinmay Gidwani" userId="b3406104-db5b-4e7b-a5f2-18cd0ec2c26e" providerId="ADAL" clId="{39315BDF-CDCF-4CB5-945B-BC9A2FF459D5}" dt="2024-04-06T02:13:31.458" v="130" actId="478"/>
          <ac:picMkLst>
            <pc:docMk/>
            <pc:sldMk cId="3256331000" sldId="316"/>
            <ac:picMk id="7" creationId="{B00DE3F3-24F4-136B-C30C-CF68EF641DEC}"/>
          </ac:picMkLst>
        </pc:picChg>
        <pc:picChg chg="add del mod ord">
          <ac:chgData name="Chinmay Gidwani" userId="b3406104-db5b-4e7b-a5f2-18cd0ec2c26e" providerId="ADAL" clId="{39315BDF-CDCF-4CB5-945B-BC9A2FF459D5}" dt="2024-04-06T02:35:59.621" v="726"/>
          <ac:picMkLst>
            <pc:docMk/>
            <pc:sldMk cId="3256331000" sldId="316"/>
            <ac:picMk id="8" creationId="{D943BCC4-77DD-EFF2-23B5-D161FD9679E3}"/>
          </ac:picMkLst>
        </pc:picChg>
        <pc:picChg chg="add mod">
          <ac:chgData name="Chinmay Gidwani" userId="b3406104-db5b-4e7b-a5f2-18cd0ec2c26e" providerId="ADAL" clId="{39315BDF-CDCF-4CB5-945B-BC9A2FF459D5}" dt="2024-04-06T02:35:59.621" v="726"/>
          <ac:picMkLst>
            <pc:docMk/>
            <pc:sldMk cId="3256331000" sldId="316"/>
            <ac:picMk id="9" creationId="{5D8651DF-44D4-EA3E-6E45-A1143C7F4A10}"/>
          </ac:picMkLst>
        </pc:picChg>
        <pc:picChg chg="del">
          <ac:chgData name="Chinmay Gidwani" userId="b3406104-db5b-4e7b-a5f2-18cd0ec2c26e" providerId="ADAL" clId="{39315BDF-CDCF-4CB5-945B-BC9A2FF459D5}" dt="2024-04-06T02:34:27.327" v="725"/>
          <ac:picMkLst>
            <pc:docMk/>
            <pc:sldMk cId="3256331000" sldId="316"/>
            <ac:picMk id="14" creationId="{E2AE772B-08CE-7155-5ED2-D0C65D2F5B10}"/>
          </ac:picMkLst>
        </pc:picChg>
      </pc:sldChg>
      <pc:sldChg chg="addSp delSp modSp add del mod">
        <pc:chgData name="Chinmay Gidwani" userId="b3406104-db5b-4e7b-a5f2-18cd0ec2c26e" providerId="ADAL" clId="{39315BDF-CDCF-4CB5-945B-BC9A2FF459D5}" dt="2024-04-06T02:22:02.909" v="151" actId="47"/>
        <pc:sldMkLst>
          <pc:docMk/>
          <pc:sldMk cId="4087828068" sldId="317"/>
        </pc:sldMkLst>
        <pc:picChg chg="add del mod">
          <ac:chgData name="Chinmay Gidwani" userId="b3406104-db5b-4e7b-a5f2-18cd0ec2c26e" providerId="ADAL" clId="{39315BDF-CDCF-4CB5-945B-BC9A2FF459D5}" dt="2024-04-06T02:14:17.825" v="140" actId="478"/>
          <ac:picMkLst>
            <pc:docMk/>
            <pc:sldMk cId="4087828068" sldId="317"/>
            <ac:picMk id="4" creationId="{8FB4D58F-664E-672B-AA60-8E8955343772}"/>
          </ac:picMkLst>
        </pc:picChg>
        <pc:picChg chg="del">
          <ac:chgData name="Chinmay Gidwani" userId="b3406104-db5b-4e7b-a5f2-18cd0ec2c26e" providerId="ADAL" clId="{39315BDF-CDCF-4CB5-945B-BC9A2FF459D5}" dt="2024-04-06T02:13:38.096" v="132" actId="478"/>
          <ac:picMkLst>
            <pc:docMk/>
            <pc:sldMk cId="4087828068" sldId="317"/>
            <ac:picMk id="7" creationId="{B00DE3F3-24F4-136B-C30C-CF68EF641DEC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7567336-4EDE-4D00-85BA-78B033B09C7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17160875" cy="19843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629C332-A106-431A-8CF9-4C7E966767B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22431375" y="0"/>
            <a:ext cx="17159288" cy="19843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989CD4-C2C3-40A0-9FF9-B395EEEFAF44}" type="datetimeFigureOut">
              <a:rPr lang="en-US" smtClean="0"/>
              <a:t>5/17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1834825-B1F4-466C-B112-198737BB257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37615813"/>
            <a:ext cx="17160875" cy="19843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87FB0F-963F-4CF1-89EC-6C1F8FB613E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22431375" y="37615813"/>
            <a:ext cx="17159288" cy="19843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094531-855D-4471-89B7-0A3C8863AA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01621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17160875" cy="19843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22431375" y="0"/>
            <a:ext cx="17159288" cy="19843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E82495-20E6-4DC4-B68F-C6FBB8E26F6D}" type="datetimeFigureOut">
              <a:rPr lang="en-US" smtClean="0"/>
              <a:t>5/17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435725" y="4949825"/>
            <a:ext cx="26730325" cy="133651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960813" y="19057938"/>
            <a:ext cx="31680150" cy="15592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37615813"/>
            <a:ext cx="17160875" cy="19843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22431375" y="37615813"/>
            <a:ext cx="17159288" cy="19843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A6B59D-2217-4338-9D1B-7E5E82C89B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74139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0A6B59D-2217-4338-9D1B-7E5E82C89B8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96961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92477" y="6817182"/>
            <a:ext cx="37306251" cy="470444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583365" y="12436025"/>
            <a:ext cx="30724475" cy="5607957"/>
          </a:xfrm>
        </p:spPr>
        <p:txBody>
          <a:bodyPr/>
          <a:lstStyle>
            <a:lvl1pPr marL="0" indent="0" algn="ctr">
              <a:buNone/>
              <a:defRPr/>
            </a:lvl1pPr>
            <a:lvl2pPr marL="261238" indent="0" algn="ctr">
              <a:buNone/>
              <a:defRPr/>
            </a:lvl2pPr>
            <a:lvl3pPr marL="522475" indent="0" algn="ctr">
              <a:buNone/>
              <a:defRPr/>
            </a:lvl3pPr>
            <a:lvl4pPr marL="783713" indent="0" algn="ctr">
              <a:buNone/>
              <a:defRPr/>
            </a:lvl4pPr>
            <a:lvl5pPr marL="1044950" indent="0" algn="ctr">
              <a:buNone/>
              <a:defRPr/>
            </a:lvl5pPr>
            <a:lvl6pPr marL="1306187" indent="0" algn="ctr">
              <a:buNone/>
              <a:defRPr/>
            </a:lvl6pPr>
            <a:lvl7pPr marL="1567425" indent="0" algn="ctr">
              <a:buNone/>
              <a:defRPr/>
            </a:lvl7pPr>
            <a:lvl8pPr marL="1828664" indent="0" algn="ctr">
              <a:buNone/>
              <a:defRPr/>
            </a:lvl8pPr>
            <a:lvl9pPr marL="2089901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E7914F9-150E-43ED-BA4B-5CBC7DBD3A27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23397727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A678339-05F4-4347-9E9C-6AEF31B1B524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35211670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31272165" y="1950361"/>
            <a:ext cx="9326563" cy="1755684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292476" y="1950361"/>
            <a:ext cx="27827288" cy="1755684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D5BFA30-CF48-4A8D-A4B4-5705D222FB1F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21443180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76114BF-9C08-4236-B599-3CC67DCBCE64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22879615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67102" y="14102444"/>
            <a:ext cx="37307839" cy="4357914"/>
          </a:xfrm>
        </p:spPr>
        <p:txBody>
          <a:bodyPr anchor="t"/>
          <a:lstStyle>
            <a:lvl1pPr algn="l">
              <a:defRPr sz="2286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67102" y="9301843"/>
            <a:ext cx="37307839" cy="4800600"/>
          </a:xfrm>
        </p:spPr>
        <p:txBody>
          <a:bodyPr anchor="b"/>
          <a:lstStyle>
            <a:lvl1pPr marL="0" indent="0">
              <a:buNone/>
              <a:defRPr sz="1143"/>
            </a:lvl1pPr>
            <a:lvl2pPr marL="261238" indent="0">
              <a:buNone/>
              <a:defRPr sz="1029"/>
            </a:lvl2pPr>
            <a:lvl3pPr marL="522475" indent="0">
              <a:buNone/>
              <a:defRPr sz="914"/>
            </a:lvl3pPr>
            <a:lvl4pPr marL="783713" indent="0">
              <a:buNone/>
              <a:defRPr sz="800"/>
            </a:lvl4pPr>
            <a:lvl5pPr marL="1044950" indent="0">
              <a:buNone/>
              <a:defRPr sz="800"/>
            </a:lvl5pPr>
            <a:lvl6pPr marL="1306187" indent="0">
              <a:buNone/>
              <a:defRPr sz="800"/>
            </a:lvl6pPr>
            <a:lvl7pPr marL="1567425" indent="0">
              <a:buNone/>
              <a:defRPr sz="800"/>
            </a:lvl7pPr>
            <a:lvl8pPr marL="1828664" indent="0">
              <a:buNone/>
              <a:defRPr sz="800"/>
            </a:lvl8pPr>
            <a:lvl9pPr marL="2089901" indent="0">
              <a:buNone/>
              <a:defRPr sz="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4C87C54-71D5-4F3D-9638-FB01B112514A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32372803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292476" y="6339115"/>
            <a:ext cx="18576925" cy="13168086"/>
          </a:xfrm>
        </p:spPr>
        <p:txBody>
          <a:bodyPr/>
          <a:lstStyle>
            <a:lvl1pPr>
              <a:defRPr sz="1600"/>
            </a:lvl1pPr>
            <a:lvl2pPr>
              <a:defRPr sz="1371"/>
            </a:lvl2pPr>
            <a:lvl3pPr>
              <a:defRPr sz="1143"/>
            </a:lvl3pPr>
            <a:lvl4pPr>
              <a:defRPr sz="1029"/>
            </a:lvl4pPr>
            <a:lvl5pPr>
              <a:defRPr sz="1029"/>
            </a:lvl5pPr>
            <a:lvl6pPr>
              <a:defRPr sz="1029"/>
            </a:lvl6pPr>
            <a:lvl7pPr>
              <a:defRPr sz="1029"/>
            </a:lvl7pPr>
            <a:lvl8pPr>
              <a:defRPr sz="1029"/>
            </a:lvl8pPr>
            <a:lvl9pPr>
              <a:defRPr sz="102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2021804" y="6339115"/>
            <a:ext cx="18576925" cy="13168086"/>
          </a:xfrm>
        </p:spPr>
        <p:txBody>
          <a:bodyPr/>
          <a:lstStyle>
            <a:lvl1pPr>
              <a:defRPr sz="1600"/>
            </a:lvl1pPr>
            <a:lvl2pPr>
              <a:defRPr sz="1371"/>
            </a:lvl2pPr>
            <a:lvl3pPr>
              <a:defRPr sz="1143"/>
            </a:lvl3pPr>
            <a:lvl4pPr>
              <a:defRPr sz="1029"/>
            </a:lvl4pPr>
            <a:lvl5pPr>
              <a:defRPr sz="1029"/>
            </a:lvl5pPr>
            <a:lvl6pPr>
              <a:defRPr sz="1029"/>
            </a:lvl6pPr>
            <a:lvl7pPr>
              <a:defRPr sz="1029"/>
            </a:lvl7pPr>
            <a:lvl8pPr>
              <a:defRPr sz="1029"/>
            </a:lvl8pPr>
            <a:lvl9pPr>
              <a:defRPr sz="102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7EC6769-9FD1-495B-AF37-D39FB4533727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29192014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93927" y="879022"/>
            <a:ext cx="39503351" cy="36576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93924" y="4912182"/>
            <a:ext cx="19392901" cy="2047421"/>
          </a:xfrm>
        </p:spPr>
        <p:txBody>
          <a:bodyPr anchor="b"/>
          <a:lstStyle>
            <a:lvl1pPr marL="0" indent="0">
              <a:buNone/>
              <a:defRPr sz="1371" b="1"/>
            </a:lvl1pPr>
            <a:lvl2pPr marL="261238" indent="0">
              <a:buNone/>
              <a:defRPr sz="1143" b="1"/>
            </a:lvl2pPr>
            <a:lvl3pPr marL="522475" indent="0">
              <a:buNone/>
              <a:defRPr sz="1029" b="1"/>
            </a:lvl3pPr>
            <a:lvl4pPr marL="783713" indent="0">
              <a:buNone/>
              <a:defRPr sz="914" b="1"/>
            </a:lvl4pPr>
            <a:lvl5pPr marL="1044950" indent="0">
              <a:buNone/>
              <a:defRPr sz="914" b="1"/>
            </a:lvl5pPr>
            <a:lvl6pPr marL="1306187" indent="0">
              <a:buNone/>
              <a:defRPr sz="914" b="1"/>
            </a:lvl6pPr>
            <a:lvl7pPr marL="1567425" indent="0">
              <a:buNone/>
              <a:defRPr sz="914" b="1"/>
            </a:lvl7pPr>
            <a:lvl8pPr marL="1828664" indent="0">
              <a:buNone/>
              <a:defRPr sz="914" b="1"/>
            </a:lvl8pPr>
            <a:lvl9pPr marL="2089901" indent="0">
              <a:buNone/>
              <a:defRPr sz="914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193924" y="6959603"/>
            <a:ext cx="19392901" cy="12643757"/>
          </a:xfrm>
        </p:spPr>
        <p:txBody>
          <a:bodyPr/>
          <a:lstStyle>
            <a:lvl1pPr>
              <a:defRPr sz="1371"/>
            </a:lvl1pPr>
            <a:lvl2pPr>
              <a:defRPr sz="1143"/>
            </a:lvl2pPr>
            <a:lvl3pPr>
              <a:defRPr sz="1029"/>
            </a:lvl3pPr>
            <a:lvl4pPr>
              <a:defRPr sz="914"/>
            </a:lvl4pPr>
            <a:lvl5pPr>
              <a:defRPr sz="914"/>
            </a:lvl5pPr>
            <a:lvl6pPr>
              <a:defRPr sz="914"/>
            </a:lvl6pPr>
            <a:lvl7pPr>
              <a:defRPr sz="914"/>
            </a:lvl7pPr>
            <a:lvl8pPr>
              <a:defRPr sz="914"/>
            </a:lvl8pPr>
            <a:lvl9pPr>
              <a:defRPr sz="914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22296440" y="4912182"/>
            <a:ext cx="19400837" cy="2047421"/>
          </a:xfrm>
        </p:spPr>
        <p:txBody>
          <a:bodyPr anchor="b"/>
          <a:lstStyle>
            <a:lvl1pPr marL="0" indent="0">
              <a:buNone/>
              <a:defRPr sz="1371" b="1"/>
            </a:lvl1pPr>
            <a:lvl2pPr marL="261238" indent="0">
              <a:buNone/>
              <a:defRPr sz="1143" b="1"/>
            </a:lvl2pPr>
            <a:lvl3pPr marL="522475" indent="0">
              <a:buNone/>
              <a:defRPr sz="1029" b="1"/>
            </a:lvl3pPr>
            <a:lvl4pPr marL="783713" indent="0">
              <a:buNone/>
              <a:defRPr sz="914" b="1"/>
            </a:lvl4pPr>
            <a:lvl5pPr marL="1044950" indent="0">
              <a:buNone/>
              <a:defRPr sz="914" b="1"/>
            </a:lvl5pPr>
            <a:lvl6pPr marL="1306187" indent="0">
              <a:buNone/>
              <a:defRPr sz="914" b="1"/>
            </a:lvl6pPr>
            <a:lvl7pPr marL="1567425" indent="0">
              <a:buNone/>
              <a:defRPr sz="914" b="1"/>
            </a:lvl7pPr>
            <a:lvl8pPr marL="1828664" indent="0">
              <a:buNone/>
              <a:defRPr sz="914" b="1"/>
            </a:lvl8pPr>
            <a:lvl9pPr marL="2089901" indent="0">
              <a:buNone/>
              <a:defRPr sz="914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22296440" y="6959603"/>
            <a:ext cx="19400837" cy="12643757"/>
          </a:xfrm>
        </p:spPr>
        <p:txBody>
          <a:bodyPr/>
          <a:lstStyle>
            <a:lvl1pPr>
              <a:defRPr sz="1371"/>
            </a:lvl1pPr>
            <a:lvl2pPr>
              <a:defRPr sz="1143"/>
            </a:lvl2pPr>
            <a:lvl3pPr>
              <a:defRPr sz="1029"/>
            </a:lvl3pPr>
            <a:lvl4pPr>
              <a:defRPr sz="914"/>
            </a:lvl4pPr>
            <a:lvl5pPr>
              <a:defRPr sz="914"/>
            </a:lvl5pPr>
            <a:lvl6pPr>
              <a:defRPr sz="914"/>
            </a:lvl6pPr>
            <a:lvl7pPr>
              <a:defRPr sz="914"/>
            </a:lvl7pPr>
            <a:lvl8pPr>
              <a:defRPr sz="914"/>
            </a:lvl8pPr>
            <a:lvl9pPr>
              <a:defRPr sz="914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814340B-C24E-4CF1-8F2E-94BDA66FD75D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10124551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D7FF473-A988-4642-B695-D572F60BC774}" type="slidenum">
              <a:rPr lang="en-AU" altLang="en-US"/>
              <a:pPr/>
              <a:t>‹#›</a:t>
            </a:fld>
            <a:endParaRPr lang="en-AU" alt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8DFA2F5-AF6C-48B2-AC53-85384609B04A}"/>
              </a:ext>
            </a:extLst>
          </p:cNvPr>
          <p:cNvSpPr/>
          <p:nvPr userDrawn="1"/>
        </p:nvSpPr>
        <p:spPr bwMode="auto">
          <a:xfrm>
            <a:off x="0" y="0"/>
            <a:ext cx="43891200" cy="219456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7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60262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1171CD6-50C3-42F5-B102-ECB5C1E5D853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4671716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93927" y="873580"/>
            <a:ext cx="14439901" cy="3718378"/>
          </a:xfrm>
        </p:spPr>
        <p:txBody>
          <a:bodyPr anchor="b"/>
          <a:lstStyle>
            <a:lvl1pPr algn="l">
              <a:defRPr sz="114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160875" y="873580"/>
            <a:ext cx="24536400" cy="18729778"/>
          </a:xfrm>
        </p:spPr>
        <p:txBody>
          <a:bodyPr/>
          <a:lstStyle>
            <a:lvl1pPr>
              <a:defRPr sz="1828"/>
            </a:lvl1pPr>
            <a:lvl2pPr>
              <a:defRPr sz="1600"/>
            </a:lvl2pPr>
            <a:lvl3pPr>
              <a:defRPr sz="1371"/>
            </a:lvl3pPr>
            <a:lvl4pPr>
              <a:defRPr sz="1143"/>
            </a:lvl4pPr>
            <a:lvl5pPr>
              <a:defRPr sz="1143"/>
            </a:lvl5pPr>
            <a:lvl6pPr>
              <a:defRPr sz="1143"/>
            </a:lvl6pPr>
            <a:lvl7pPr>
              <a:defRPr sz="1143"/>
            </a:lvl7pPr>
            <a:lvl8pPr>
              <a:defRPr sz="1143"/>
            </a:lvl8pPr>
            <a:lvl9pPr>
              <a:defRPr sz="114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193927" y="4591957"/>
            <a:ext cx="14439901" cy="15011400"/>
          </a:xfrm>
        </p:spPr>
        <p:txBody>
          <a:bodyPr/>
          <a:lstStyle>
            <a:lvl1pPr marL="0" indent="0">
              <a:buNone/>
              <a:defRPr sz="800"/>
            </a:lvl1pPr>
            <a:lvl2pPr marL="261238" indent="0">
              <a:buNone/>
              <a:defRPr sz="686"/>
            </a:lvl2pPr>
            <a:lvl3pPr marL="522475" indent="0">
              <a:buNone/>
              <a:defRPr sz="571"/>
            </a:lvl3pPr>
            <a:lvl4pPr marL="783713" indent="0">
              <a:buNone/>
              <a:defRPr sz="514"/>
            </a:lvl4pPr>
            <a:lvl5pPr marL="1044950" indent="0">
              <a:buNone/>
              <a:defRPr sz="514"/>
            </a:lvl5pPr>
            <a:lvl6pPr marL="1306187" indent="0">
              <a:buNone/>
              <a:defRPr sz="514"/>
            </a:lvl6pPr>
            <a:lvl7pPr marL="1567425" indent="0">
              <a:buNone/>
              <a:defRPr sz="514"/>
            </a:lvl7pPr>
            <a:lvl8pPr marL="1828664" indent="0">
              <a:buNone/>
              <a:defRPr sz="514"/>
            </a:lvl8pPr>
            <a:lvl9pPr marL="2089901" indent="0">
              <a:buNone/>
              <a:defRPr sz="514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F27BF72-D86B-4CC1-A0A4-AB6BFFE07AFD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26677595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02664" y="15361558"/>
            <a:ext cx="26335037" cy="1814286"/>
          </a:xfrm>
        </p:spPr>
        <p:txBody>
          <a:bodyPr anchor="b"/>
          <a:lstStyle>
            <a:lvl1pPr algn="l">
              <a:defRPr sz="114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8602664" y="1961246"/>
            <a:ext cx="26335037" cy="13167179"/>
          </a:xfrm>
        </p:spPr>
        <p:txBody>
          <a:bodyPr/>
          <a:lstStyle>
            <a:lvl1pPr marL="0" indent="0">
              <a:buNone/>
              <a:defRPr sz="1828"/>
            </a:lvl1pPr>
            <a:lvl2pPr marL="261238" indent="0">
              <a:buNone/>
              <a:defRPr sz="1600"/>
            </a:lvl2pPr>
            <a:lvl3pPr marL="522475" indent="0">
              <a:buNone/>
              <a:defRPr sz="1371"/>
            </a:lvl3pPr>
            <a:lvl4pPr marL="783713" indent="0">
              <a:buNone/>
              <a:defRPr sz="1143"/>
            </a:lvl4pPr>
            <a:lvl5pPr marL="1044950" indent="0">
              <a:buNone/>
              <a:defRPr sz="1143"/>
            </a:lvl5pPr>
            <a:lvl6pPr marL="1306187" indent="0">
              <a:buNone/>
              <a:defRPr sz="1143"/>
            </a:lvl6pPr>
            <a:lvl7pPr marL="1567425" indent="0">
              <a:buNone/>
              <a:defRPr sz="1143"/>
            </a:lvl7pPr>
            <a:lvl8pPr marL="1828664" indent="0">
              <a:buNone/>
              <a:defRPr sz="1143"/>
            </a:lvl8pPr>
            <a:lvl9pPr marL="2089901" indent="0">
              <a:buNone/>
              <a:defRPr sz="1143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02664" y="17175846"/>
            <a:ext cx="26335037" cy="2575379"/>
          </a:xfrm>
        </p:spPr>
        <p:txBody>
          <a:bodyPr/>
          <a:lstStyle>
            <a:lvl1pPr marL="0" indent="0">
              <a:buNone/>
              <a:defRPr sz="800"/>
            </a:lvl1pPr>
            <a:lvl2pPr marL="261238" indent="0">
              <a:buNone/>
              <a:defRPr sz="686"/>
            </a:lvl2pPr>
            <a:lvl3pPr marL="522475" indent="0">
              <a:buNone/>
              <a:defRPr sz="571"/>
            </a:lvl3pPr>
            <a:lvl4pPr marL="783713" indent="0">
              <a:buNone/>
              <a:defRPr sz="514"/>
            </a:lvl4pPr>
            <a:lvl5pPr marL="1044950" indent="0">
              <a:buNone/>
              <a:defRPr sz="514"/>
            </a:lvl5pPr>
            <a:lvl6pPr marL="1306187" indent="0">
              <a:buNone/>
              <a:defRPr sz="514"/>
            </a:lvl6pPr>
            <a:lvl7pPr marL="1567425" indent="0">
              <a:buNone/>
              <a:defRPr sz="514"/>
            </a:lvl7pPr>
            <a:lvl8pPr marL="1828664" indent="0">
              <a:buNone/>
              <a:defRPr sz="514"/>
            </a:lvl8pPr>
            <a:lvl9pPr marL="2089901" indent="0">
              <a:buNone/>
              <a:defRPr sz="514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3388DA4-D5E8-40AB-8BF2-B8F067ACA6A5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42040071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F497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3131672-2629-446D-8683-037301D2F0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965465374"/>
              </p:ext>
            </p:extLst>
          </p:nvPr>
        </p:nvGraphicFramePr>
        <p:xfrm>
          <a:off x="2117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25" imgH="424" progId="TCLayout.ActiveDocument.1">
                  <p:embed/>
                </p:oleObj>
              </mc:Choice>
              <mc:Fallback>
                <p:oleObj name="think-cell Slide" r:id="rId15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3131672-2629-446D-8683-037301D2F0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7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025DE-683A-4BA3-8837-69516B12386A}"/>
              </a:ext>
            </a:extLst>
          </p:cNvPr>
          <p:cNvSpPr/>
          <p:nvPr userDrawn="1">
            <p:custDataLst>
              <p:tags r:id="rId14"/>
            </p:custDataLst>
          </p:nvPr>
        </p:nvSpPr>
        <p:spPr bwMode="auto">
          <a:xfrm>
            <a:off x="1" y="0"/>
            <a:ext cx="211667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57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panose="02020603050405020304" pitchFamily="18" charset="0"/>
              <a:ea typeface="+mj-ea"/>
              <a:cs typeface="+mj-cs"/>
              <a:sym typeface="Times" panose="02020603050405020304" pitchFamily="18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292477" y="1950360"/>
            <a:ext cx="37306251" cy="36585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38862" tIns="219432" rIns="438862" bIns="21943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AU" altLang="en-US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92477" y="6339115"/>
            <a:ext cx="37306251" cy="13168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38862" tIns="219432" rIns="438862" bIns="21943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AU" altLang="en-US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292475" y="19995243"/>
            <a:ext cx="9144000" cy="1463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38862" tIns="219432" rIns="438862" bIns="219432" numCol="1" anchor="t" anchorCtr="0" compatLnSpc="1">
            <a:prstTxWarp prst="textNoShape">
              <a:avLst/>
            </a:prstTxWarp>
          </a:bodyPr>
          <a:lstStyle>
            <a:lvl1pPr defTabSz="2508062">
              <a:defRPr sz="3828"/>
            </a:lvl1pPr>
          </a:lstStyle>
          <a:p>
            <a:endParaRPr lang="en-AU" altLang="en-US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997117" y="19995243"/>
            <a:ext cx="13896975" cy="1463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38862" tIns="219432" rIns="438862" bIns="219432" numCol="1" anchor="t" anchorCtr="0" compatLnSpc="1">
            <a:prstTxWarp prst="textNoShape">
              <a:avLst/>
            </a:prstTxWarp>
          </a:bodyPr>
          <a:lstStyle>
            <a:lvl1pPr algn="ctr" defTabSz="2508062">
              <a:defRPr sz="3828"/>
            </a:lvl1pPr>
          </a:lstStyle>
          <a:p>
            <a:endParaRPr lang="en-AU" altLang="en-US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1454725" y="19995243"/>
            <a:ext cx="9144000" cy="1463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38862" tIns="219432" rIns="438862" bIns="219432" numCol="1" anchor="t" anchorCtr="0" compatLnSpc="1">
            <a:prstTxWarp prst="textNoShape">
              <a:avLst/>
            </a:prstTxWarp>
          </a:bodyPr>
          <a:lstStyle>
            <a:lvl1pPr algn="r" defTabSz="2508062">
              <a:defRPr sz="3828"/>
            </a:lvl1pPr>
          </a:lstStyle>
          <a:p>
            <a:fld id="{777CDA11-CE27-4048-AD59-A3D9E025B8A2}" type="slidenum">
              <a:rPr lang="en-AU" altLang="en-US"/>
              <a:pPr/>
              <a:t>‹#›</a:t>
            </a:fld>
            <a:endParaRPr lang="en-AU" altLang="en-US"/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0" y="0"/>
            <a:ext cx="43891200" cy="21945600"/>
          </a:xfrm>
          <a:prstGeom prst="rect">
            <a:avLst/>
          </a:prstGeom>
          <a:noFill/>
          <a:ln w="254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914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193C017-DFEF-4FF3-B40E-2496F137D9AB}"/>
              </a:ext>
            </a:extLst>
          </p:cNvPr>
          <p:cNvSpPr/>
          <p:nvPr userDrawn="1"/>
        </p:nvSpPr>
        <p:spPr bwMode="auto">
          <a:xfrm>
            <a:off x="-101600" y="0"/>
            <a:ext cx="43992800" cy="219456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7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2508062" rtl="0" eaLnBrk="1" fontAlgn="base" hangingPunct="1">
        <a:spcBef>
          <a:spcPct val="0"/>
        </a:spcBef>
        <a:spcAft>
          <a:spcPct val="0"/>
        </a:spcAft>
        <a:defRPr sz="12057">
          <a:solidFill>
            <a:schemeClr val="tx2"/>
          </a:solidFill>
          <a:latin typeface="+mj-lt"/>
          <a:ea typeface="+mj-ea"/>
          <a:cs typeface="+mj-cs"/>
        </a:defRPr>
      </a:lvl1pPr>
      <a:lvl2pPr algn="ctr" defTabSz="2508062" rtl="0" eaLnBrk="1" fontAlgn="base" hangingPunct="1">
        <a:spcBef>
          <a:spcPct val="0"/>
        </a:spcBef>
        <a:spcAft>
          <a:spcPct val="0"/>
        </a:spcAft>
        <a:defRPr sz="12057">
          <a:solidFill>
            <a:schemeClr val="tx2"/>
          </a:solidFill>
          <a:latin typeface="Times" charset="0"/>
        </a:defRPr>
      </a:lvl2pPr>
      <a:lvl3pPr algn="ctr" defTabSz="2508062" rtl="0" eaLnBrk="1" fontAlgn="base" hangingPunct="1">
        <a:spcBef>
          <a:spcPct val="0"/>
        </a:spcBef>
        <a:spcAft>
          <a:spcPct val="0"/>
        </a:spcAft>
        <a:defRPr sz="12057">
          <a:solidFill>
            <a:schemeClr val="tx2"/>
          </a:solidFill>
          <a:latin typeface="Times" charset="0"/>
        </a:defRPr>
      </a:lvl3pPr>
      <a:lvl4pPr algn="ctr" defTabSz="2508062" rtl="0" eaLnBrk="1" fontAlgn="base" hangingPunct="1">
        <a:spcBef>
          <a:spcPct val="0"/>
        </a:spcBef>
        <a:spcAft>
          <a:spcPct val="0"/>
        </a:spcAft>
        <a:defRPr sz="12057">
          <a:solidFill>
            <a:schemeClr val="tx2"/>
          </a:solidFill>
          <a:latin typeface="Times" charset="0"/>
        </a:defRPr>
      </a:lvl4pPr>
      <a:lvl5pPr algn="ctr" defTabSz="2508062" rtl="0" eaLnBrk="1" fontAlgn="base" hangingPunct="1">
        <a:spcBef>
          <a:spcPct val="0"/>
        </a:spcBef>
        <a:spcAft>
          <a:spcPct val="0"/>
        </a:spcAft>
        <a:defRPr sz="12057">
          <a:solidFill>
            <a:schemeClr val="tx2"/>
          </a:solidFill>
          <a:latin typeface="Times" charset="0"/>
        </a:defRPr>
      </a:lvl5pPr>
      <a:lvl6pPr marL="261238" algn="ctr" defTabSz="2508062" rtl="0" eaLnBrk="1" fontAlgn="base" hangingPunct="1">
        <a:spcBef>
          <a:spcPct val="0"/>
        </a:spcBef>
        <a:spcAft>
          <a:spcPct val="0"/>
        </a:spcAft>
        <a:defRPr sz="12057">
          <a:solidFill>
            <a:schemeClr val="tx2"/>
          </a:solidFill>
          <a:latin typeface="Times" charset="0"/>
        </a:defRPr>
      </a:lvl6pPr>
      <a:lvl7pPr marL="522475" algn="ctr" defTabSz="2508062" rtl="0" eaLnBrk="1" fontAlgn="base" hangingPunct="1">
        <a:spcBef>
          <a:spcPct val="0"/>
        </a:spcBef>
        <a:spcAft>
          <a:spcPct val="0"/>
        </a:spcAft>
        <a:defRPr sz="12057">
          <a:solidFill>
            <a:schemeClr val="tx2"/>
          </a:solidFill>
          <a:latin typeface="Times" charset="0"/>
        </a:defRPr>
      </a:lvl7pPr>
      <a:lvl8pPr marL="783713" algn="ctr" defTabSz="2508062" rtl="0" eaLnBrk="1" fontAlgn="base" hangingPunct="1">
        <a:spcBef>
          <a:spcPct val="0"/>
        </a:spcBef>
        <a:spcAft>
          <a:spcPct val="0"/>
        </a:spcAft>
        <a:defRPr sz="12057">
          <a:solidFill>
            <a:schemeClr val="tx2"/>
          </a:solidFill>
          <a:latin typeface="Times" charset="0"/>
        </a:defRPr>
      </a:lvl8pPr>
      <a:lvl9pPr marL="1044950" algn="ctr" defTabSz="2508062" rtl="0" eaLnBrk="1" fontAlgn="base" hangingPunct="1">
        <a:spcBef>
          <a:spcPct val="0"/>
        </a:spcBef>
        <a:spcAft>
          <a:spcPct val="0"/>
        </a:spcAft>
        <a:defRPr sz="12057">
          <a:solidFill>
            <a:schemeClr val="tx2"/>
          </a:solidFill>
          <a:latin typeface="Times" charset="0"/>
        </a:defRPr>
      </a:lvl9pPr>
    </p:titleStyle>
    <p:bodyStyle>
      <a:lvl1pPr marL="940637" indent="-940637" algn="l" defTabSz="2508062" rtl="0" eaLnBrk="1" fontAlgn="base" hangingPunct="1">
        <a:spcBef>
          <a:spcPct val="20000"/>
        </a:spcBef>
        <a:spcAft>
          <a:spcPct val="0"/>
        </a:spcAft>
        <a:buChar char="•"/>
        <a:defRPr sz="8742">
          <a:solidFill>
            <a:schemeClr val="tx1"/>
          </a:solidFill>
          <a:latin typeface="+mn-lt"/>
          <a:ea typeface="+mn-ea"/>
          <a:cs typeface="+mn-cs"/>
        </a:defRPr>
      </a:lvl1pPr>
      <a:lvl2pPr marL="2037290" indent="-783713" algn="l" defTabSz="2508062" rtl="0" eaLnBrk="1" fontAlgn="base" hangingPunct="1">
        <a:spcBef>
          <a:spcPct val="20000"/>
        </a:spcBef>
        <a:spcAft>
          <a:spcPct val="0"/>
        </a:spcAft>
        <a:buChar char="–"/>
        <a:defRPr sz="7714">
          <a:solidFill>
            <a:schemeClr val="tx1"/>
          </a:solidFill>
          <a:latin typeface="+mn-lt"/>
        </a:defRPr>
      </a:lvl2pPr>
      <a:lvl3pPr marL="3134851" indent="-626789" algn="l" defTabSz="2508062" rtl="0" eaLnBrk="1" fontAlgn="base" hangingPunct="1">
        <a:spcBef>
          <a:spcPct val="20000"/>
        </a:spcBef>
        <a:spcAft>
          <a:spcPct val="0"/>
        </a:spcAft>
        <a:buChar char="•"/>
        <a:defRPr sz="6571">
          <a:solidFill>
            <a:schemeClr val="tx1"/>
          </a:solidFill>
          <a:latin typeface="+mn-lt"/>
        </a:defRPr>
      </a:lvl3pPr>
      <a:lvl4pPr marL="4388429" indent="-626789" algn="l" defTabSz="2508062" rtl="0" eaLnBrk="1" fontAlgn="base" hangingPunct="1">
        <a:spcBef>
          <a:spcPct val="20000"/>
        </a:spcBef>
        <a:spcAft>
          <a:spcPct val="0"/>
        </a:spcAft>
        <a:buChar char="–"/>
        <a:defRPr sz="5485">
          <a:solidFill>
            <a:schemeClr val="tx1"/>
          </a:solidFill>
          <a:latin typeface="+mn-lt"/>
        </a:defRPr>
      </a:lvl4pPr>
      <a:lvl5pPr marL="5641099" indent="-625881" algn="l" defTabSz="2508062" rtl="0" eaLnBrk="1" fontAlgn="base" hangingPunct="1">
        <a:spcBef>
          <a:spcPct val="20000"/>
        </a:spcBef>
        <a:spcAft>
          <a:spcPct val="0"/>
        </a:spcAft>
        <a:buChar char="»"/>
        <a:defRPr sz="5485">
          <a:solidFill>
            <a:schemeClr val="tx1"/>
          </a:solidFill>
          <a:latin typeface="+mn-lt"/>
        </a:defRPr>
      </a:lvl5pPr>
      <a:lvl6pPr marL="5902337" indent="-625881" algn="l" defTabSz="2508062" rtl="0" eaLnBrk="1" fontAlgn="base" hangingPunct="1">
        <a:spcBef>
          <a:spcPct val="20000"/>
        </a:spcBef>
        <a:spcAft>
          <a:spcPct val="0"/>
        </a:spcAft>
        <a:buChar char="»"/>
        <a:defRPr sz="5485">
          <a:solidFill>
            <a:schemeClr val="tx1"/>
          </a:solidFill>
          <a:latin typeface="+mn-lt"/>
        </a:defRPr>
      </a:lvl6pPr>
      <a:lvl7pPr marL="6163574" indent="-625881" algn="l" defTabSz="2508062" rtl="0" eaLnBrk="1" fontAlgn="base" hangingPunct="1">
        <a:spcBef>
          <a:spcPct val="20000"/>
        </a:spcBef>
        <a:spcAft>
          <a:spcPct val="0"/>
        </a:spcAft>
        <a:buChar char="»"/>
        <a:defRPr sz="5485">
          <a:solidFill>
            <a:schemeClr val="tx1"/>
          </a:solidFill>
          <a:latin typeface="+mn-lt"/>
        </a:defRPr>
      </a:lvl7pPr>
      <a:lvl8pPr marL="6424811" indent="-625881" algn="l" defTabSz="2508062" rtl="0" eaLnBrk="1" fontAlgn="base" hangingPunct="1">
        <a:spcBef>
          <a:spcPct val="20000"/>
        </a:spcBef>
        <a:spcAft>
          <a:spcPct val="0"/>
        </a:spcAft>
        <a:buChar char="»"/>
        <a:defRPr sz="5485">
          <a:solidFill>
            <a:schemeClr val="tx1"/>
          </a:solidFill>
          <a:latin typeface="+mn-lt"/>
        </a:defRPr>
      </a:lvl8pPr>
      <a:lvl9pPr marL="6686049" indent="-625881" algn="l" defTabSz="2508062" rtl="0" eaLnBrk="1" fontAlgn="base" hangingPunct="1">
        <a:spcBef>
          <a:spcPct val="20000"/>
        </a:spcBef>
        <a:spcAft>
          <a:spcPct val="0"/>
        </a:spcAft>
        <a:buChar char="»"/>
        <a:defRPr sz="548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522475" rtl="0" eaLnBrk="1" latinLnBrk="0" hangingPunct="1">
        <a:defRPr sz="1029" kern="1200">
          <a:solidFill>
            <a:schemeClr val="tx1"/>
          </a:solidFill>
          <a:latin typeface="+mn-lt"/>
          <a:ea typeface="+mn-ea"/>
          <a:cs typeface="+mn-cs"/>
        </a:defRPr>
      </a:lvl1pPr>
      <a:lvl2pPr marL="261238" algn="l" defTabSz="522475" rtl="0" eaLnBrk="1" latinLnBrk="0" hangingPunct="1">
        <a:defRPr sz="1029" kern="1200">
          <a:solidFill>
            <a:schemeClr val="tx1"/>
          </a:solidFill>
          <a:latin typeface="+mn-lt"/>
          <a:ea typeface="+mn-ea"/>
          <a:cs typeface="+mn-cs"/>
        </a:defRPr>
      </a:lvl2pPr>
      <a:lvl3pPr marL="522475" algn="l" defTabSz="522475" rtl="0" eaLnBrk="1" latinLnBrk="0" hangingPunct="1">
        <a:defRPr sz="1029" kern="1200">
          <a:solidFill>
            <a:schemeClr val="tx1"/>
          </a:solidFill>
          <a:latin typeface="+mn-lt"/>
          <a:ea typeface="+mn-ea"/>
          <a:cs typeface="+mn-cs"/>
        </a:defRPr>
      </a:lvl3pPr>
      <a:lvl4pPr marL="783713" algn="l" defTabSz="522475" rtl="0" eaLnBrk="1" latinLnBrk="0" hangingPunct="1">
        <a:defRPr sz="1029" kern="1200">
          <a:solidFill>
            <a:schemeClr val="tx1"/>
          </a:solidFill>
          <a:latin typeface="+mn-lt"/>
          <a:ea typeface="+mn-ea"/>
          <a:cs typeface="+mn-cs"/>
        </a:defRPr>
      </a:lvl4pPr>
      <a:lvl5pPr marL="1044950" algn="l" defTabSz="522475" rtl="0" eaLnBrk="1" latinLnBrk="0" hangingPunct="1">
        <a:defRPr sz="1029" kern="1200">
          <a:solidFill>
            <a:schemeClr val="tx1"/>
          </a:solidFill>
          <a:latin typeface="+mn-lt"/>
          <a:ea typeface="+mn-ea"/>
          <a:cs typeface="+mn-cs"/>
        </a:defRPr>
      </a:lvl5pPr>
      <a:lvl6pPr marL="1306187" algn="l" defTabSz="522475" rtl="0" eaLnBrk="1" latinLnBrk="0" hangingPunct="1">
        <a:defRPr sz="1029" kern="1200">
          <a:solidFill>
            <a:schemeClr val="tx1"/>
          </a:solidFill>
          <a:latin typeface="+mn-lt"/>
          <a:ea typeface="+mn-ea"/>
          <a:cs typeface="+mn-cs"/>
        </a:defRPr>
      </a:lvl6pPr>
      <a:lvl7pPr marL="1567425" algn="l" defTabSz="522475" rtl="0" eaLnBrk="1" latinLnBrk="0" hangingPunct="1">
        <a:defRPr sz="1029" kern="1200">
          <a:solidFill>
            <a:schemeClr val="tx1"/>
          </a:solidFill>
          <a:latin typeface="+mn-lt"/>
          <a:ea typeface="+mn-ea"/>
          <a:cs typeface="+mn-cs"/>
        </a:defRPr>
      </a:lvl7pPr>
      <a:lvl8pPr marL="1828664" algn="l" defTabSz="522475" rtl="0" eaLnBrk="1" latinLnBrk="0" hangingPunct="1">
        <a:defRPr sz="1029" kern="1200">
          <a:solidFill>
            <a:schemeClr val="tx1"/>
          </a:solidFill>
          <a:latin typeface="+mn-lt"/>
          <a:ea typeface="+mn-ea"/>
          <a:cs typeface="+mn-cs"/>
        </a:defRPr>
      </a:lvl8pPr>
      <a:lvl9pPr marL="2089901" algn="l" defTabSz="522475" rtl="0" eaLnBrk="1" latinLnBrk="0" hangingPunct="1">
        <a:defRPr sz="102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image" Target="../media/image7.png"/><Relationship Id="rId18" Type="http://schemas.openxmlformats.org/officeDocument/2006/relationships/image" Target="../media/image12.png"/><Relationship Id="rId26" Type="http://schemas.openxmlformats.org/officeDocument/2006/relationships/image" Target="../media/image20.png"/><Relationship Id="rId39" Type="http://schemas.openxmlformats.org/officeDocument/2006/relationships/image" Target="../media/image33.png"/><Relationship Id="rId21" Type="http://schemas.openxmlformats.org/officeDocument/2006/relationships/image" Target="../media/image15.png"/><Relationship Id="rId34" Type="http://schemas.openxmlformats.org/officeDocument/2006/relationships/image" Target="../media/image28.png"/><Relationship Id="rId7" Type="http://schemas.openxmlformats.org/officeDocument/2006/relationships/oleObject" Target="../embeddings/oleObject2.bin"/><Relationship Id="rId12" Type="http://schemas.openxmlformats.org/officeDocument/2006/relationships/image" Target="../media/image6.png"/><Relationship Id="rId17" Type="http://schemas.openxmlformats.org/officeDocument/2006/relationships/image" Target="../media/image11.png"/><Relationship Id="rId25" Type="http://schemas.openxmlformats.org/officeDocument/2006/relationships/image" Target="../media/image19.png"/><Relationship Id="rId33" Type="http://schemas.openxmlformats.org/officeDocument/2006/relationships/image" Target="../media/image27.png"/><Relationship Id="rId38" Type="http://schemas.openxmlformats.org/officeDocument/2006/relationships/image" Target="../media/image32.png"/><Relationship Id="rId2" Type="http://schemas.openxmlformats.org/officeDocument/2006/relationships/tags" Target="../tags/tag5.xml"/><Relationship Id="rId16" Type="http://schemas.openxmlformats.org/officeDocument/2006/relationships/image" Target="../media/image10.png"/><Relationship Id="rId20" Type="http://schemas.openxmlformats.org/officeDocument/2006/relationships/image" Target="../media/image14.png"/><Relationship Id="rId29" Type="http://schemas.openxmlformats.org/officeDocument/2006/relationships/image" Target="../media/image23.jpeg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11" Type="http://schemas.openxmlformats.org/officeDocument/2006/relationships/image" Target="../media/image5.png"/><Relationship Id="rId24" Type="http://schemas.openxmlformats.org/officeDocument/2006/relationships/image" Target="../media/image18.png"/><Relationship Id="rId32" Type="http://schemas.openxmlformats.org/officeDocument/2006/relationships/image" Target="../media/image26.png"/><Relationship Id="rId37" Type="http://schemas.openxmlformats.org/officeDocument/2006/relationships/image" Target="../media/image31.png"/><Relationship Id="rId5" Type="http://schemas.openxmlformats.org/officeDocument/2006/relationships/notesSlide" Target="../notesSlides/notesSlide1.xml"/><Relationship Id="rId15" Type="http://schemas.openxmlformats.org/officeDocument/2006/relationships/image" Target="../media/image9.png"/><Relationship Id="rId23" Type="http://schemas.openxmlformats.org/officeDocument/2006/relationships/image" Target="../media/image17.png"/><Relationship Id="rId28" Type="http://schemas.openxmlformats.org/officeDocument/2006/relationships/image" Target="../media/image22.png"/><Relationship Id="rId36" Type="http://schemas.openxmlformats.org/officeDocument/2006/relationships/image" Target="../media/image30.png"/><Relationship Id="rId10" Type="http://schemas.openxmlformats.org/officeDocument/2006/relationships/image" Target="../media/image4.jpeg"/><Relationship Id="rId19" Type="http://schemas.openxmlformats.org/officeDocument/2006/relationships/image" Target="../media/image13.png"/><Relationship Id="rId31" Type="http://schemas.openxmlformats.org/officeDocument/2006/relationships/image" Target="../media/image25.pn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3.jpeg"/><Relationship Id="rId14" Type="http://schemas.openxmlformats.org/officeDocument/2006/relationships/image" Target="../media/image8.png"/><Relationship Id="rId22" Type="http://schemas.openxmlformats.org/officeDocument/2006/relationships/image" Target="../media/image16.png"/><Relationship Id="rId27" Type="http://schemas.openxmlformats.org/officeDocument/2006/relationships/image" Target="../media/image21.png"/><Relationship Id="rId30" Type="http://schemas.openxmlformats.org/officeDocument/2006/relationships/image" Target="../media/image24.png"/><Relationship Id="rId35" Type="http://schemas.openxmlformats.org/officeDocument/2006/relationships/image" Target="../media/image29.jpeg"/><Relationship Id="rId8" Type="http://schemas.openxmlformats.org/officeDocument/2006/relationships/image" Target="../media/image1.emf"/><Relationship Id="rId3" Type="http://schemas.openxmlformats.org/officeDocument/2006/relationships/tags" Target="../tags/tag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84F9F54B-3880-3666-16E5-E1F739C98BD0}"/>
              </a:ext>
            </a:extLst>
          </p:cNvPr>
          <p:cNvPicPr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3207064" y="304799"/>
            <a:ext cx="12757049" cy="1350000"/>
          </a:xfrm>
          <a:prstGeom prst="rect">
            <a:avLst/>
          </a:prstGeom>
        </p:spPr>
      </p:pic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432B884F-F6BB-4C34-BBD8-F91CF94F36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54879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25" imgH="424" progId="TCLayout.ActiveDocument.1">
                  <p:embed/>
                </p:oleObj>
              </mc:Choice>
              <mc:Fallback>
                <p:oleObj name="think-cell Slide" r:id="rId7" imgW="425" imgH="424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432B884F-F6BB-4C34-BBD8-F91CF94F36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54879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F67F2D4A-D616-4519-9663-4C3DA025E836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548640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51" name="Text Box 103"/>
          <p:cNvSpPr txBox="1">
            <a:spLocks noChangeArrowheads="1"/>
          </p:cNvSpPr>
          <p:nvPr/>
        </p:nvSpPr>
        <p:spPr bwMode="auto">
          <a:xfrm>
            <a:off x="-89878" y="1938504"/>
            <a:ext cx="43981077" cy="177221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/>
        </p:spPr>
        <p:txBody>
          <a:bodyPr lIns="104503" tIns="104503" rIns="104503" bIns="104503"/>
          <a:lstStyle>
            <a:lvl1pPr defTabSz="1016000">
              <a:defRPr sz="2400">
                <a:solidFill>
                  <a:schemeClr val="tx1"/>
                </a:solidFill>
                <a:latin typeface="Times" charset="0"/>
              </a:defRPr>
            </a:lvl1pPr>
            <a:lvl2pPr marL="508000" defTabSz="1016000">
              <a:defRPr sz="2400">
                <a:solidFill>
                  <a:schemeClr val="tx1"/>
                </a:solidFill>
                <a:latin typeface="Times" charset="0"/>
              </a:defRPr>
            </a:lvl2pPr>
            <a:lvl3pPr marL="1016000" defTabSz="1016000">
              <a:defRPr sz="2400">
                <a:solidFill>
                  <a:schemeClr val="tx1"/>
                </a:solidFill>
                <a:latin typeface="Times" charset="0"/>
              </a:defRPr>
            </a:lvl3pPr>
            <a:lvl4pPr marL="1524000" defTabSz="1016000">
              <a:defRPr sz="2400">
                <a:solidFill>
                  <a:schemeClr val="tx1"/>
                </a:solidFill>
                <a:latin typeface="Times" charset="0"/>
              </a:defRPr>
            </a:lvl4pPr>
            <a:lvl5pPr marL="2032000" defTabSz="1016000">
              <a:defRPr sz="2400">
                <a:solidFill>
                  <a:schemeClr val="tx1"/>
                </a:solidFill>
                <a:latin typeface="Times" charset="0"/>
              </a:defRPr>
            </a:lvl5pPr>
            <a:lvl6pPr marL="2489200" defTabSz="1016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6pPr>
            <a:lvl7pPr marL="2946400" defTabSz="1016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7pPr>
            <a:lvl8pPr marL="3403600" defTabSz="1016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8pPr>
            <a:lvl9pPr marL="3860800" defTabSz="1016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9pPr>
          </a:lstStyle>
          <a:p>
            <a:pPr marL="0" marR="0" lvl="0" indent="0" algn="ctr" defTabSz="10160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upama M, Chinmay </a:t>
            </a:r>
            <a:r>
              <a:rPr kumimoji="0" lang="en-IN" sz="32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idwani</a:t>
            </a:r>
            <a:r>
              <a:rPr kumimoji="0" lang="en-IN" sz="3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r>
              <a:rPr kumimoji="0" lang="en-IN" sz="32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avyasri</a:t>
            </a:r>
            <a:r>
              <a:rPr kumimoji="0" lang="en-IN" sz="3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IN" sz="32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Jadala</a:t>
            </a:r>
            <a:r>
              <a:rPr kumimoji="0" lang="en-IN" sz="3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Keertana Madan, </a:t>
            </a:r>
            <a:r>
              <a:rPr kumimoji="0" lang="en-IN" sz="32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athyusha</a:t>
            </a:r>
            <a:r>
              <a:rPr kumimoji="0" lang="en-IN" sz="3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Reddy </a:t>
            </a:r>
            <a:r>
              <a:rPr kumimoji="0" lang="en-IN" sz="32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idudhula</a:t>
            </a:r>
            <a:r>
              <a:rPr kumimoji="0" lang="en-IN" sz="3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Matthew A. Lanham</a:t>
            </a:r>
          </a:p>
          <a:p>
            <a:pPr marL="0" marR="0" lvl="0" indent="0" algn="ctr" defTabSz="10160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rdue University, Daniel’s School of Business</a:t>
            </a:r>
          </a:p>
          <a:p>
            <a:pPr marL="0" marR="0" lvl="0" indent="0" algn="ctr" defTabSz="10160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altLang="en-US" sz="3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1@purdue.edu; cgidwani@purdue.edu; madaank@purdue.edu; kjadala@purdue.edu; pmidudhu@purdue.edu; lanhamm@purdue.edu</a:t>
            </a:r>
            <a:endParaRPr kumimoji="0" lang="en-GB" alt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154" name="Rectangle 106"/>
          <p:cNvSpPr>
            <a:spLocks noChangeArrowheads="1"/>
          </p:cNvSpPr>
          <p:nvPr/>
        </p:nvSpPr>
        <p:spPr bwMode="auto">
          <a:xfrm>
            <a:off x="598209" y="4514077"/>
            <a:ext cx="10663631" cy="255258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99502" tIns="199502" rIns="199502" bIns="199502" anchor="t"/>
          <a:lstStyle>
            <a:lvl1pPr defTabSz="887413">
              <a:defRPr sz="2400">
                <a:solidFill>
                  <a:schemeClr val="tx1"/>
                </a:solidFill>
                <a:latin typeface="Times" charset="0"/>
              </a:defRPr>
            </a:lvl1pPr>
            <a:lvl2pPr marL="442913" defTabSz="887413">
              <a:defRPr sz="2400">
                <a:solidFill>
                  <a:schemeClr val="tx1"/>
                </a:solidFill>
                <a:latin typeface="Times" charset="0"/>
              </a:defRPr>
            </a:lvl2pPr>
            <a:lvl3pPr marL="887413" defTabSz="887413">
              <a:defRPr sz="2400">
                <a:solidFill>
                  <a:schemeClr val="tx1"/>
                </a:solidFill>
                <a:latin typeface="Times" charset="0"/>
              </a:defRPr>
            </a:lvl3pPr>
            <a:lvl4pPr marL="1330325" defTabSz="887413">
              <a:defRPr sz="2400">
                <a:solidFill>
                  <a:schemeClr val="tx1"/>
                </a:solidFill>
                <a:latin typeface="Times" charset="0"/>
              </a:defRPr>
            </a:lvl4pPr>
            <a:lvl5pPr marL="1773238" defTabSz="887413">
              <a:defRPr sz="2400">
                <a:solidFill>
                  <a:schemeClr val="tx1"/>
                </a:solidFill>
                <a:latin typeface="Times" charset="0"/>
              </a:defRPr>
            </a:lvl5pPr>
            <a:lvl6pPr marL="22304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6pPr>
            <a:lvl7pPr marL="26876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7pPr>
            <a:lvl8pPr marL="31448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8pPr>
            <a:lvl9pPr marL="36020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9pPr>
          </a:lstStyle>
          <a:p>
            <a:pPr marL="0" marR="0" lvl="0" indent="0" algn="just" defTabSz="8874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1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magine unlocking the vast universe of digital content for every corner of the world, no matter how remote or how rarely their language is spoken. </a:t>
            </a:r>
          </a:p>
          <a:p>
            <a:pPr marL="0" marR="0" lvl="0" indent="0" algn="just" defTabSz="8874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2200" spc="10">
              <a:solidFill>
                <a:prstClr val="black"/>
              </a:solidFill>
              <a:latin typeface="Arial"/>
              <a:cs typeface="Arial"/>
            </a:endParaRPr>
          </a:p>
          <a:p>
            <a:pPr marL="0" marR="0" lvl="0" indent="0" algn="just" defTabSz="8874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1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just" defTabSz="8874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1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just" defTabSz="8874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1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 our partnership with SIL International, a non-profit organization, we are working to create a future where educational and informative content can speak directly to everyone in their native language, making learning and accessing information a seamless, inclusive experience.</a:t>
            </a:r>
            <a:endParaRPr kumimoji="0" lang="en-US" sz="2200" b="0" i="0" u="none" strike="noStrike" kern="1200" cap="none" spc="1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97144E4-DACB-4626-A9DF-3A010B6A1502}"/>
              </a:ext>
            </a:extLst>
          </p:cNvPr>
          <p:cNvSpPr/>
          <p:nvPr/>
        </p:nvSpPr>
        <p:spPr>
          <a:xfrm>
            <a:off x="1499631" y="4108514"/>
            <a:ext cx="514196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usiness Problem Framing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FA1FAB8-5768-438D-B2F4-F60B2A37F47A}"/>
              </a:ext>
            </a:extLst>
          </p:cNvPr>
          <p:cNvSpPr/>
          <p:nvPr/>
        </p:nvSpPr>
        <p:spPr bwMode="auto">
          <a:xfrm>
            <a:off x="776955" y="4198482"/>
            <a:ext cx="365760" cy="365760"/>
          </a:xfrm>
          <a:prstGeom prst="rect">
            <a:avLst/>
          </a:prstGeom>
          <a:solidFill>
            <a:srgbClr val="DDC69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94A2A42-DA43-47A3-A95C-FE608289C8F8}"/>
              </a:ext>
            </a:extLst>
          </p:cNvPr>
          <p:cNvCxnSpPr>
            <a:cxnSpLocks/>
          </p:cNvCxnSpPr>
          <p:nvPr/>
        </p:nvCxnSpPr>
        <p:spPr bwMode="auto">
          <a:xfrm>
            <a:off x="6951196" y="4347327"/>
            <a:ext cx="422955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B1810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4" name="Rectangle 33">
            <a:extLst>
              <a:ext uri="{FF2B5EF4-FFF2-40B4-BE49-F238E27FC236}">
                <a16:creationId xmlns:a16="http://schemas.microsoft.com/office/drawing/2014/main" id="{1E691D5B-DEA8-4C56-96F7-361BD5DF17DE}"/>
              </a:ext>
            </a:extLst>
          </p:cNvPr>
          <p:cNvSpPr/>
          <p:nvPr/>
        </p:nvSpPr>
        <p:spPr>
          <a:xfrm>
            <a:off x="1507732" y="13112824"/>
            <a:ext cx="580026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alytical Problem Framing</a:t>
            </a: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9989D70-EF79-47D4-BB0B-547709F3D730}"/>
              </a:ext>
            </a:extLst>
          </p:cNvPr>
          <p:cNvSpPr/>
          <p:nvPr/>
        </p:nvSpPr>
        <p:spPr bwMode="auto">
          <a:xfrm>
            <a:off x="837173" y="13221412"/>
            <a:ext cx="365760" cy="365760"/>
          </a:xfrm>
          <a:prstGeom prst="rect">
            <a:avLst/>
          </a:prstGeom>
          <a:solidFill>
            <a:srgbClr val="DDC69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4EF49B87-0CD0-4F15-9D69-6AD7C5E2D872}"/>
              </a:ext>
            </a:extLst>
          </p:cNvPr>
          <p:cNvCxnSpPr>
            <a:cxnSpLocks/>
          </p:cNvCxnSpPr>
          <p:nvPr/>
        </p:nvCxnSpPr>
        <p:spPr bwMode="auto">
          <a:xfrm>
            <a:off x="6951196" y="13427042"/>
            <a:ext cx="4527983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B1810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9" name="Rectangle 38">
            <a:extLst>
              <a:ext uri="{FF2B5EF4-FFF2-40B4-BE49-F238E27FC236}">
                <a16:creationId xmlns:a16="http://schemas.microsoft.com/office/drawing/2014/main" id="{5B411F13-1648-40BE-94CD-0A5AA4C4324D}"/>
              </a:ext>
            </a:extLst>
          </p:cNvPr>
          <p:cNvSpPr/>
          <p:nvPr/>
        </p:nvSpPr>
        <p:spPr>
          <a:xfrm>
            <a:off x="12939214" y="4116297"/>
            <a:ext cx="6015472" cy="52322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ata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+mn-ea"/>
              <a:cs typeface="+mn-cs"/>
            </a:endParaRPr>
          </a:p>
        </p:txBody>
      </p:sp>
      <p:sp>
        <p:nvSpPr>
          <p:cNvPr id="47" name="Rectangle 26">
            <a:extLst>
              <a:ext uri="{FF2B5EF4-FFF2-40B4-BE49-F238E27FC236}">
                <a16:creationId xmlns:a16="http://schemas.microsoft.com/office/drawing/2014/main" id="{99348E1A-91F7-4585-8CC3-F23DF5AC1A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-89878" y="3708465"/>
            <a:ext cx="44008880" cy="163603"/>
          </a:xfrm>
          <a:prstGeom prst="rect">
            <a:avLst/>
          </a:prstGeom>
          <a:solidFill>
            <a:srgbClr val="DDC69A"/>
          </a:solidFill>
          <a:ln>
            <a:noFill/>
          </a:ln>
          <a:effectLst/>
        </p:spPr>
        <p:txBody>
          <a:bodyPr wrap="none" lIns="50674" tIns="25337" rIns="50674" bIns="25337" anchor="ctr"/>
          <a:lstStyle>
            <a:lvl1pPr defTabSz="887413">
              <a:defRPr sz="2400">
                <a:solidFill>
                  <a:schemeClr val="tx1"/>
                </a:solidFill>
                <a:latin typeface="Times" charset="0"/>
              </a:defRPr>
            </a:lvl1pPr>
            <a:lvl2pPr marL="442913" defTabSz="887413">
              <a:defRPr sz="2400">
                <a:solidFill>
                  <a:schemeClr val="tx1"/>
                </a:solidFill>
                <a:latin typeface="Times" charset="0"/>
              </a:defRPr>
            </a:lvl2pPr>
            <a:lvl3pPr marL="887413" defTabSz="887413">
              <a:defRPr sz="2400">
                <a:solidFill>
                  <a:schemeClr val="tx1"/>
                </a:solidFill>
                <a:latin typeface="Times" charset="0"/>
              </a:defRPr>
            </a:lvl3pPr>
            <a:lvl4pPr marL="1330325" defTabSz="887413">
              <a:defRPr sz="2400">
                <a:solidFill>
                  <a:schemeClr val="tx1"/>
                </a:solidFill>
                <a:latin typeface="Times" charset="0"/>
              </a:defRPr>
            </a:lvl4pPr>
            <a:lvl5pPr marL="1773238" defTabSz="887413">
              <a:defRPr sz="2400">
                <a:solidFill>
                  <a:schemeClr val="tx1"/>
                </a:solidFill>
                <a:latin typeface="Times" charset="0"/>
              </a:defRPr>
            </a:lvl5pPr>
            <a:lvl6pPr marL="22304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6pPr>
            <a:lvl7pPr marL="26876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7pPr>
            <a:lvl8pPr marL="31448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8pPr>
            <a:lvl9pPr marL="36020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9pPr>
          </a:lstStyle>
          <a:p>
            <a:pPr marL="0" marR="0" lvl="0" indent="0" algn="ctr" defTabSz="8874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314" b="0" i="0" u="none" strike="noStrike" kern="1200" cap="none" spc="0" normalizeH="0" baseline="0" noProof="0">
              <a:ln>
                <a:noFill/>
              </a:ln>
              <a:solidFill>
                <a:srgbClr val="E36C09"/>
              </a:solidFill>
              <a:effectLst/>
              <a:uLnTx/>
              <a:uFillTx/>
              <a:latin typeface="Times" charset="0"/>
              <a:ea typeface="+mn-ea"/>
              <a:cs typeface="+mn-cs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0BDFD781-FA2F-4C95-A898-2E83C4466408}"/>
              </a:ext>
            </a:extLst>
          </p:cNvPr>
          <p:cNvSpPr/>
          <p:nvPr/>
        </p:nvSpPr>
        <p:spPr>
          <a:xfrm>
            <a:off x="12685151" y="13236205"/>
            <a:ext cx="359998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D0AEBDE7-57D5-416C-961F-58227600F46B}"/>
              </a:ext>
            </a:extLst>
          </p:cNvPr>
          <p:cNvSpPr/>
          <p:nvPr/>
        </p:nvSpPr>
        <p:spPr bwMode="auto">
          <a:xfrm>
            <a:off x="12132759" y="13273254"/>
            <a:ext cx="365760" cy="365760"/>
          </a:xfrm>
          <a:prstGeom prst="rect">
            <a:avLst/>
          </a:prstGeom>
          <a:solidFill>
            <a:srgbClr val="DDC69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+mn-ea"/>
              <a:cs typeface="+mn-cs"/>
            </a:endParaRP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F07F1DA0-8053-4E69-8275-772C1A191B71}"/>
              </a:ext>
            </a:extLst>
          </p:cNvPr>
          <p:cNvCxnSpPr>
            <a:cxnSpLocks/>
          </p:cNvCxnSpPr>
          <p:nvPr/>
        </p:nvCxnSpPr>
        <p:spPr bwMode="auto">
          <a:xfrm>
            <a:off x="15844045" y="13463239"/>
            <a:ext cx="698954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B1810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9582F389-BADC-43BB-B8C6-F5DB42D26F8F}"/>
              </a:ext>
            </a:extLst>
          </p:cNvPr>
          <p:cNvCxnSpPr/>
          <p:nvPr/>
        </p:nvCxnSpPr>
        <p:spPr bwMode="auto">
          <a:xfrm>
            <a:off x="11630995" y="4304496"/>
            <a:ext cx="0" cy="1703204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2" name="Rectangle 41">
            <a:extLst>
              <a:ext uri="{FF2B5EF4-FFF2-40B4-BE49-F238E27FC236}">
                <a16:creationId xmlns:a16="http://schemas.microsoft.com/office/drawing/2014/main" id="{96F07418-00C8-4943-8B6F-6F530066EE2B}"/>
              </a:ext>
            </a:extLst>
          </p:cNvPr>
          <p:cNvSpPr/>
          <p:nvPr/>
        </p:nvSpPr>
        <p:spPr bwMode="auto">
          <a:xfrm>
            <a:off x="12342489" y="4222044"/>
            <a:ext cx="365760" cy="365760"/>
          </a:xfrm>
          <a:prstGeom prst="rect">
            <a:avLst/>
          </a:prstGeom>
          <a:solidFill>
            <a:srgbClr val="DDC69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55" name="Text Box 126">
            <a:extLst>
              <a:ext uri="{FF2B5EF4-FFF2-40B4-BE49-F238E27FC236}">
                <a16:creationId xmlns:a16="http://schemas.microsoft.com/office/drawing/2014/main" id="{5A28348E-FA48-4141-AACB-2916E7D7647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64288" y="475318"/>
            <a:ext cx="33216413" cy="10464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6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udio-to-Text Alignment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7C49F5A-4518-4C56-8A32-89B3D0E1D515}"/>
              </a:ext>
            </a:extLst>
          </p:cNvPr>
          <p:cNvSpPr txBox="1"/>
          <p:nvPr/>
        </p:nvSpPr>
        <p:spPr>
          <a:xfrm>
            <a:off x="687348" y="7840123"/>
            <a:ext cx="6154206" cy="332648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o answer this, our team is </a:t>
            </a:r>
            <a:r>
              <a:rPr kumimoji="0" lang="en-US" sz="22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reating a language agnostic innovative system</a:t>
            </a:r>
            <a:r>
              <a:rPr lang="en-US" sz="220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kumimoji="0" lang="en-US" sz="22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at automatically synchronizes audio and text across unseen languages to ensure they align </a:t>
            </a:r>
            <a:r>
              <a:rPr lang="en-US" sz="2200">
                <a:solidFill>
                  <a:prstClr val="black"/>
                </a:solidFill>
                <a:latin typeface="Arial"/>
                <a:cs typeface="Arial"/>
              </a:rPr>
              <a:t>without relying on speech recognition.</a:t>
            </a:r>
          </a:p>
          <a:p>
            <a:pPr marL="0" marR="0" lvl="0" indent="0" algn="just" defTabSz="914400" rtl="0" eaLnBrk="0" fontAlgn="base" latinLnBrk="0" hangingPunct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just" defTabSz="914400" rtl="0" eaLnBrk="0" fontAlgn="base" latinLnBrk="0" hangingPunct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L’s aim is to vastly simplify the creation of multilingual educational materials without the need for language experts using this solution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93941FE-9D82-4634-B879-C7ACD765753F}"/>
              </a:ext>
            </a:extLst>
          </p:cNvPr>
          <p:cNvSpPr/>
          <p:nvPr/>
        </p:nvSpPr>
        <p:spPr>
          <a:xfrm>
            <a:off x="17346684" y="15695538"/>
            <a:ext cx="2359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 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+mn-ea"/>
              <a:cs typeface="+mn-cs"/>
            </a:endParaRPr>
          </a:p>
        </p:txBody>
      </p:sp>
      <p:cxnSp>
        <p:nvCxnSpPr>
          <p:cNvPr id="181" name="Straight Connector 180">
            <a:extLst>
              <a:ext uri="{FF2B5EF4-FFF2-40B4-BE49-F238E27FC236}">
                <a16:creationId xmlns:a16="http://schemas.microsoft.com/office/drawing/2014/main" id="{7F8D026A-672F-4B41-B4D6-3B45C79B46F6}"/>
              </a:ext>
            </a:extLst>
          </p:cNvPr>
          <p:cNvCxnSpPr/>
          <p:nvPr/>
        </p:nvCxnSpPr>
        <p:spPr bwMode="auto">
          <a:xfrm flipV="1">
            <a:off x="14361040" y="4359914"/>
            <a:ext cx="8489975" cy="743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B1810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9" name="Rectangle 198">
            <a:extLst>
              <a:ext uri="{FF2B5EF4-FFF2-40B4-BE49-F238E27FC236}">
                <a16:creationId xmlns:a16="http://schemas.microsoft.com/office/drawing/2014/main" id="{DFF1BB2C-6619-427B-975C-946D9E5CBEAE}"/>
              </a:ext>
            </a:extLst>
          </p:cNvPr>
          <p:cNvSpPr>
            <a:spLocks noGrp="1" noChangeArrowheads="1"/>
          </p:cNvSpPr>
          <p:nvPr>
            <p:custDataLst>
              <p:tags r:id="rId3"/>
            </p:custDataLst>
          </p:nvPr>
        </p:nvSpPr>
        <p:spPr bwMode="auto">
          <a:xfrm>
            <a:off x="227945" y="2293429"/>
            <a:ext cx="6111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940660" indent="-940660" algn="l" defTabSz="2508125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8742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7341" indent="-783732" algn="l" defTabSz="2508125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7714">
                <a:solidFill>
                  <a:schemeClr val="tx1"/>
                </a:solidFill>
                <a:latin typeface="+mn-lt"/>
              </a:defRPr>
            </a:lvl2pPr>
            <a:lvl3pPr marL="3134929" indent="-626805" algn="l" defTabSz="2508125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6571">
                <a:solidFill>
                  <a:schemeClr val="tx1"/>
                </a:solidFill>
                <a:latin typeface="+mn-lt"/>
              </a:defRPr>
            </a:lvl3pPr>
            <a:lvl4pPr marL="4388538" indent="-626805" algn="l" defTabSz="2508125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5485">
                <a:solidFill>
                  <a:schemeClr val="tx1"/>
                </a:solidFill>
                <a:latin typeface="+mn-lt"/>
              </a:defRPr>
            </a:lvl4pPr>
            <a:lvl5pPr marL="5641240" indent="-625897" algn="l" defTabSz="2508125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5485">
                <a:solidFill>
                  <a:schemeClr val="tx1"/>
                </a:solidFill>
                <a:latin typeface="+mn-lt"/>
              </a:defRPr>
            </a:lvl5pPr>
            <a:lvl6pPr marL="5902484" indent="-625897" algn="l" defTabSz="2508125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5485">
                <a:solidFill>
                  <a:schemeClr val="tx1"/>
                </a:solidFill>
                <a:latin typeface="+mn-lt"/>
              </a:defRPr>
            </a:lvl6pPr>
            <a:lvl7pPr marL="6163728" indent="-625897" algn="l" defTabSz="2508125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5485">
                <a:solidFill>
                  <a:schemeClr val="tx1"/>
                </a:solidFill>
                <a:latin typeface="+mn-lt"/>
              </a:defRPr>
            </a:lvl7pPr>
            <a:lvl8pPr marL="6424972" indent="-625897" algn="l" defTabSz="2508125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5485">
                <a:solidFill>
                  <a:schemeClr val="tx1"/>
                </a:solidFill>
                <a:latin typeface="+mn-lt"/>
              </a:defRPr>
            </a:lvl8pPr>
            <a:lvl9pPr marL="6686216" indent="-625897" algn="l" defTabSz="2508125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5485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25081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35FA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08BB51C-831A-4DCF-84FA-A04FECD426F8}"/>
              </a:ext>
            </a:extLst>
          </p:cNvPr>
          <p:cNvSpPr txBox="1"/>
          <p:nvPr/>
        </p:nvSpPr>
        <p:spPr>
          <a:xfrm>
            <a:off x="1063590" y="20034339"/>
            <a:ext cx="10318515" cy="110799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just">
              <a:defRPr/>
            </a:pPr>
            <a:r>
              <a:rPr lang="en-US" sz="2200" spc="10">
                <a:solidFill>
                  <a:prstClr val="black"/>
                </a:solidFill>
                <a:latin typeface="Arial"/>
                <a:cs typeface="Times"/>
              </a:rPr>
              <a:t>We have used these methodologies  </a:t>
            </a:r>
            <a:r>
              <a:rPr kumimoji="0" lang="en-US" sz="2200" b="0" i="0" u="none" strike="noStrike" kern="1200" cap="none" spc="1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Times"/>
              </a:rPr>
              <a:t>to </a:t>
            </a:r>
            <a:r>
              <a:rPr lang="en-US" sz="2200" spc="10">
                <a:solidFill>
                  <a:prstClr val="black"/>
                </a:solidFill>
                <a:latin typeface="Arial"/>
                <a:cs typeface="Times"/>
              </a:rPr>
              <a:t>achieve significant </a:t>
            </a:r>
            <a:r>
              <a:rPr kumimoji="0" lang="en-US" sz="2200" b="0" i="0" u="none" strike="noStrike" kern="1200" cap="none" spc="1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Times"/>
              </a:rPr>
              <a:t>audio to text alignment </a:t>
            </a:r>
            <a:r>
              <a:rPr lang="en-US" sz="2200" spc="10">
                <a:solidFill>
                  <a:prstClr val="black"/>
                </a:solidFill>
                <a:latin typeface="Arial"/>
                <a:cs typeface="Times"/>
              </a:rPr>
              <a:t>of three languages</a:t>
            </a:r>
            <a:r>
              <a:rPr kumimoji="0" lang="en-US" sz="2200" b="0" i="0" u="none" strike="noStrike" kern="1200" cap="none" spc="1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/>
                <a:cs typeface="Times"/>
              </a:rPr>
              <a:t>.</a:t>
            </a:r>
            <a:endParaRPr lang="en-US">
              <a:solidFill>
                <a:prstClr val="black"/>
              </a:solidFill>
              <a:latin typeface="Times"/>
              <a:cs typeface="Times"/>
            </a:endParaRPr>
          </a:p>
          <a:p>
            <a:pPr marL="0" marR="0" lvl="0" indent="0" algn="just" defTabSz="91440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2200" b="0" i="0" u="none" strike="noStrike" kern="1200" cap="none" spc="1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201" name="Rectangle 200">
            <a:extLst>
              <a:ext uri="{FF2B5EF4-FFF2-40B4-BE49-F238E27FC236}">
                <a16:creationId xmlns:a16="http://schemas.microsoft.com/office/drawing/2014/main" id="{F2DD2CFB-B1F6-401D-B0ED-2A31E4481691}"/>
              </a:ext>
            </a:extLst>
          </p:cNvPr>
          <p:cNvSpPr/>
          <p:nvPr/>
        </p:nvSpPr>
        <p:spPr>
          <a:xfrm>
            <a:off x="24171291" y="4101233"/>
            <a:ext cx="4216471" cy="52322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odel Building</a:t>
            </a: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id="{981B139B-84BD-429E-A87A-4774B38773D2}"/>
              </a:ext>
            </a:extLst>
          </p:cNvPr>
          <p:cNvSpPr/>
          <p:nvPr/>
        </p:nvSpPr>
        <p:spPr bwMode="auto">
          <a:xfrm>
            <a:off x="23649823" y="4238032"/>
            <a:ext cx="365760" cy="365760"/>
          </a:xfrm>
          <a:prstGeom prst="rect">
            <a:avLst/>
          </a:prstGeom>
          <a:solidFill>
            <a:srgbClr val="DDC69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+mn-ea"/>
              <a:cs typeface="+mn-cs"/>
            </a:endParaRPr>
          </a:p>
        </p:txBody>
      </p:sp>
      <p:cxnSp>
        <p:nvCxnSpPr>
          <p:cNvPr id="205" name="Straight Connector 204">
            <a:extLst>
              <a:ext uri="{FF2B5EF4-FFF2-40B4-BE49-F238E27FC236}">
                <a16:creationId xmlns:a16="http://schemas.microsoft.com/office/drawing/2014/main" id="{59DC9773-E706-4942-A186-2BA06992AE3A}"/>
              </a:ext>
            </a:extLst>
          </p:cNvPr>
          <p:cNvCxnSpPr/>
          <p:nvPr/>
        </p:nvCxnSpPr>
        <p:spPr bwMode="auto">
          <a:xfrm flipV="1">
            <a:off x="27397986" y="4347327"/>
            <a:ext cx="15728493" cy="165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B1810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7" name="Rectangle 26">
            <a:extLst>
              <a:ext uri="{FF2B5EF4-FFF2-40B4-BE49-F238E27FC236}">
                <a16:creationId xmlns:a16="http://schemas.microsoft.com/office/drawing/2014/main" id="{F7967B6B-449B-4C4B-87E5-214DC84A22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06185" y="1828269"/>
            <a:ext cx="44008883" cy="143456"/>
          </a:xfrm>
          <a:prstGeom prst="rect">
            <a:avLst/>
          </a:prstGeom>
          <a:solidFill>
            <a:srgbClr val="DDC69A"/>
          </a:solidFill>
          <a:ln>
            <a:noFill/>
          </a:ln>
          <a:effectLst/>
        </p:spPr>
        <p:txBody>
          <a:bodyPr wrap="none" lIns="50674" tIns="25337" rIns="50674" bIns="25337" anchor="ctr"/>
          <a:lstStyle>
            <a:lvl1pPr defTabSz="887413">
              <a:defRPr sz="2400">
                <a:solidFill>
                  <a:schemeClr val="tx1"/>
                </a:solidFill>
                <a:latin typeface="Times" charset="0"/>
              </a:defRPr>
            </a:lvl1pPr>
            <a:lvl2pPr marL="442913" defTabSz="887413">
              <a:defRPr sz="2400">
                <a:solidFill>
                  <a:schemeClr val="tx1"/>
                </a:solidFill>
                <a:latin typeface="Times" charset="0"/>
              </a:defRPr>
            </a:lvl2pPr>
            <a:lvl3pPr marL="887413" defTabSz="887413">
              <a:defRPr sz="2400">
                <a:solidFill>
                  <a:schemeClr val="tx1"/>
                </a:solidFill>
                <a:latin typeface="Times" charset="0"/>
              </a:defRPr>
            </a:lvl3pPr>
            <a:lvl4pPr marL="1330325" defTabSz="887413">
              <a:defRPr sz="2400">
                <a:solidFill>
                  <a:schemeClr val="tx1"/>
                </a:solidFill>
                <a:latin typeface="Times" charset="0"/>
              </a:defRPr>
            </a:lvl4pPr>
            <a:lvl5pPr marL="1773238" defTabSz="887413">
              <a:defRPr sz="2400">
                <a:solidFill>
                  <a:schemeClr val="tx1"/>
                </a:solidFill>
                <a:latin typeface="Times" charset="0"/>
              </a:defRPr>
            </a:lvl5pPr>
            <a:lvl6pPr marL="22304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6pPr>
            <a:lvl7pPr marL="26876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7pPr>
            <a:lvl8pPr marL="31448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8pPr>
            <a:lvl9pPr marL="36020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9pPr>
          </a:lstStyle>
          <a:p>
            <a:pPr marL="0" marR="0" lvl="0" indent="0" algn="ctr" defTabSz="8874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314" b="0" i="0" u="none" strike="noStrike" kern="1200" cap="none" spc="0" normalizeH="0" baseline="0" noProof="0">
              <a:ln>
                <a:noFill/>
              </a:ln>
              <a:solidFill>
                <a:srgbClr val="E36C09"/>
              </a:solidFill>
              <a:effectLst/>
              <a:uLnTx/>
              <a:uFillTx/>
              <a:latin typeface="Times" charset="0"/>
              <a:ea typeface="+mn-ea"/>
              <a:cs typeface="+mn-cs"/>
            </a:endParaRPr>
          </a:p>
        </p:txBody>
      </p:sp>
      <p:sp>
        <p:nvSpPr>
          <p:cNvPr id="141" name="Rectangle 26">
            <a:extLst>
              <a:ext uri="{FF2B5EF4-FFF2-40B4-BE49-F238E27FC236}">
                <a16:creationId xmlns:a16="http://schemas.microsoft.com/office/drawing/2014/main" id="{FAB6ED1B-2BBA-4CD8-AB49-EF09F1F824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17681" y="21799774"/>
            <a:ext cx="44008880" cy="163603"/>
          </a:xfrm>
          <a:prstGeom prst="rect">
            <a:avLst/>
          </a:prstGeom>
          <a:solidFill>
            <a:srgbClr val="DDC69A"/>
          </a:solidFill>
          <a:ln>
            <a:noFill/>
          </a:ln>
          <a:effectLst/>
        </p:spPr>
        <p:txBody>
          <a:bodyPr wrap="none" lIns="50674" tIns="25337" rIns="50674" bIns="25337" anchor="ctr"/>
          <a:lstStyle>
            <a:lvl1pPr defTabSz="887413">
              <a:defRPr sz="2400">
                <a:solidFill>
                  <a:schemeClr val="tx1"/>
                </a:solidFill>
                <a:latin typeface="Times" charset="0"/>
              </a:defRPr>
            </a:lvl1pPr>
            <a:lvl2pPr marL="442913" defTabSz="887413">
              <a:defRPr sz="2400">
                <a:solidFill>
                  <a:schemeClr val="tx1"/>
                </a:solidFill>
                <a:latin typeface="Times" charset="0"/>
              </a:defRPr>
            </a:lvl2pPr>
            <a:lvl3pPr marL="887413" defTabSz="887413">
              <a:defRPr sz="2400">
                <a:solidFill>
                  <a:schemeClr val="tx1"/>
                </a:solidFill>
                <a:latin typeface="Times" charset="0"/>
              </a:defRPr>
            </a:lvl3pPr>
            <a:lvl4pPr marL="1330325" defTabSz="887413">
              <a:defRPr sz="2400">
                <a:solidFill>
                  <a:schemeClr val="tx1"/>
                </a:solidFill>
                <a:latin typeface="Times" charset="0"/>
              </a:defRPr>
            </a:lvl4pPr>
            <a:lvl5pPr marL="1773238" defTabSz="887413">
              <a:defRPr sz="2400">
                <a:solidFill>
                  <a:schemeClr val="tx1"/>
                </a:solidFill>
                <a:latin typeface="Times" charset="0"/>
              </a:defRPr>
            </a:lvl5pPr>
            <a:lvl6pPr marL="22304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6pPr>
            <a:lvl7pPr marL="26876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7pPr>
            <a:lvl8pPr marL="31448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8pPr>
            <a:lvl9pPr marL="36020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9pPr>
          </a:lstStyle>
          <a:p>
            <a:pPr marL="0" marR="0" lvl="0" indent="0" algn="ctr" defTabSz="8874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314" b="0" i="0" u="none" strike="noStrike" kern="1200" cap="none" spc="0" normalizeH="0" baseline="0" noProof="0">
              <a:ln>
                <a:noFill/>
              </a:ln>
              <a:solidFill>
                <a:srgbClr val="E36C09"/>
              </a:solidFill>
              <a:effectLst/>
              <a:uLnTx/>
              <a:uFillTx/>
              <a:latin typeface="Times" charset="0"/>
              <a:ea typeface="+mn-ea"/>
              <a:cs typeface="+mn-cs"/>
            </a:endParaRPr>
          </a:p>
        </p:txBody>
      </p: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22105DCC-8B80-4932-A11F-566A4E5862CD}"/>
              </a:ext>
            </a:extLst>
          </p:cNvPr>
          <p:cNvCxnSpPr/>
          <p:nvPr/>
        </p:nvCxnSpPr>
        <p:spPr bwMode="auto">
          <a:xfrm>
            <a:off x="23340060" y="4211208"/>
            <a:ext cx="0" cy="1703204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37" name="Rectangle 236">
            <a:extLst>
              <a:ext uri="{FF2B5EF4-FFF2-40B4-BE49-F238E27FC236}">
                <a16:creationId xmlns:a16="http://schemas.microsoft.com/office/drawing/2014/main" id="{5CEECB10-ECB5-48C6-89BD-6A90C19B3151}"/>
              </a:ext>
            </a:extLst>
          </p:cNvPr>
          <p:cNvSpPr/>
          <p:nvPr/>
        </p:nvSpPr>
        <p:spPr bwMode="auto">
          <a:xfrm>
            <a:off x="-102558" y="-19426"/>
            <a:ext cx="4874282" cy="3805865"/>
          </a:xfrm>
          <a:prstGeom prst="rect">
            <a:avLst/>
          </a:prstGeom>
          <a:solidFill>
            <a:srgbClr val="DDC69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8" name="Rectangle 237">
            <a:extLst>
              <a:ext uri="{FF2B5EF4-FFF2-40B4-BE49-F238E27FC236}">
                <a16:creationId xmlns:a16="http://schemas.microsoft.com/office/drawing/2014/main" id="{EB429614-D536-4934-919E-2C27E6A3B7F9}"/>
              </a:ext>
            </a:extLst>
          </p:cNvPr>
          <p:cNvSpPr/>
          <p:nvPr/>
        </p:nvSpPr>
        <p:spPr bwMode="auto">
          <a:xfrm>
            <a:off x="39065662" y="-33694"/>
            <a:ext cx="4874282" cy="3805865"/>
          </a:xfrm>
          <a:prstGeom prst="rect">
            <a:avLst/>
          </a:prstGeom>
          <a:solidFill>
            <a:srgbClr val="DDC69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0D4BC0D-B1E2-6ED6-B574-803C026E5FE9}"/>
              </a:ext>
            </a:extLst>
          </p:cNvPr>
          <p:cNvSpPr txBox="1"/>
          <p:nvPr/>
        </p:nvSpPr>
        <p:spPr>
          <a:xfrm>
            <a:off x="12204487" y="4718657"/>
            <a:ext cx="10397598" cy="76944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200">
                <a:solidFill>
                  <a:prstClr val="black"/>
                </a:solidFill>
                <a:latin typeface="Arial"/>
                <a:cs typeface="Times"/>
              </a:rPr>
              <a:t>Data from the open source,</a:t>
            </a:r>
            <a:r>
              <a:rPr lang="en-US" sz="2200">
                <a:solidFill>
                  <a:prstClr val="black"/>
                </a:solidFill>
                <a:latin typeface="Arial"/>
                <a:cs typeface="Arial"/>
              </a:rPr>
              <a:t> </a:t>
            </a: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ozilla Common Voice</a:t>
            </a:r>
            <a:r>
              <a:rPr lang="en-US" sz="2200">
                <a:solidFill>
                  <a:prstClr val="black"/>
                </a:solidFill>
                <a:latin typeface="Arial"/>
                <a:cs typeface="Arial"/>
              </a:rPr>
              <a:t> (audio +</a:t>
            </a: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lang="en-US" sz="2200">
                <a:solidFill>
                  <a:prstClr val="black"/>
                </a:solidFill>
                <a:latin typeface="Arial"/>
                <a:cs typeface="Arial"/>
              </a:rPr>
              <a:t>text</a:t>
            </a: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translations</a:t>
            </a:r>
            <a:r>
              <a:rPr lang="en-US" sz="2200">
                <a:solidFill>
                  <a:prstClr val="black"/>
                </a:solidFill>
                <a:latin typeface="Arial"/>
                <a:cs typeface="Arial"/>
              </a:rPr>
              <a:t>)</a:t>
            </a: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of </a:t>
            </a:r>
            <a:r>
              <a:rPr lang="en-US" sz="2200">
                <a:solidFill>
                  <a:prstClr val="black"/>
                </a:solidFill>
                <a:latin typeface="Arial"/>
                <a:cs typeface="Arial"/>
              </a:rPr>
              <a:t>120+ languages</a:t>
            </a: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lang="en-US" sz="2200">
                <a:solidFill>
                  <a:prstClr val="black"/>
                </a:solidFill>
                <a:latin typeface="Arial"/>
                <a:cs typeface="Arial"/>
              </a:rPr>
              <a:t>. </a:t>
            </a:r>
            <a:endParaRPr lang="en-US" sz="2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15DC6941-B050-D88B-8457-5B5C0D09D70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2067559" y="5515468"/>
            <a:ext cx="4470617" cy="1666576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0423B7A3-673E-2C0B-915F-FAD5ACB0073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6534553" y="5314348"/>
            <a:ext cx="5332375" cy="1978674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FA7F81D2-A90C-178D-CA5B-7F578ABC355F}"/>
              </a:ext>
            </a:extLst>
          </p:cNvPr>
          <p:cNvSpPr txBox="1"/>
          <p:nvPr/>
        </p:nvSpPr>
        <p:spPr>
          <a:xfrm>
            <a:off x="29335704" y="4270307"/>
            <a:ext cx="5790926" cy="230832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just"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rial"/>
                <a:cs typeface="Arial"/>
              </a:rPr>
              <a:t>The outputs from tokenization are aligned using</a:t>
            </a:r>
            <a:r>
              <a:rPr lang="en-US" sz="2400">
                <a:solidFill>
                  <a:srgbClr val="0D0D0D"/>
                </a:solidFill>
                <a:latin typeface="Arial"/>
                <a:cs typeface="Arial"/>
              </a:rPr>
              <a:t> Eflomal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rial"/>
                <a:cs typeface="Arial"/>
              </a:rPr>
              <a:t> to achieve a synchronized result. Training on the Common Voice dataset further refines this alignment and fortifies the understanding of the model.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EBCBEC6D-5B13-B251-8BBD-C104B92B5F2A}"/>
              </a:ext>
            </a:extLst>
          </p:cNvPr>
          <p:cNvSpPr/>
          <p:nvPr/>
        </p:nvSpPr>
        <p:spPr>
          <a:xfrm>
            <a:off x="14229503" y="7355852"/>
            <a:ext cx="5911447" cy="369332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" charset="0"/>
                <a:cs typeface="Arial"/>
              </a:rPr>
              <a:t>Fig 5. Waveform &amp; Spectrogram analysis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9F75112E-6298-DD53-9CCA-85D5B3FF2F5A}"/>
              </a:ext>
            </a:extLst>
          </p:cNvPr>
          <p:cNvSpPr txBox="1"/>
          <p:nvPr/>
        </p:nvSpPr>
        <p:spPr>
          <a:xfrm>
            <a:off x="12135596" y="7715412"/>
            <a:ext cx="10328991" cy="110799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Times"/>
              </a:rPr>
              <a:t>Waveform </a:t>
            </a:r>
            <a:r>
              <a:rPr lang="en-US" sz="2200">
                <a:solidFill>
                  <a:prstClr val="black"/>
                </a:solidFill>
                <a:latin typeface="Arial"/>
                <a:cs typeface="Times"/>
              </a:rPr>
              <a:t>: Loudness</a:t>
            </a: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Times"/>
              </a:rPr>
              <a:t> over </a:t>
            </a:r>
            <a:r>
              <a:rPr lang="en-US" sz="2200">
                <a:solidFill>
                  <a:prstClr val="black"/>
                </a:solidFill>
                <a:latin typeface="Arial"/>
                <a:cs typeface="Times"/>
              </a:rPr>
              <a:t>time; Spectrogram</a:t>
            </a: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Times"/>
              </a:rPr>
              <a:t> </a:t>
            </a:r>
            <a:r>
              <a:rPr lang="en-US" sz="2200">
                <a:solidFill>
                  <a:prstClr val="black"/>
                </a:solidFill>
                <a:latin typeface="Arial"/>
                <a:cs typeface="Times"/>
              </a:rPr>
              <a:t>: Constituent </a:t>
            </a: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Times"/>
              </a:rPr>
              <a:t>frequencies</a:t>
            </a:r>
            <a:r>
              <a:rPr lang="en-US" sz="2200">
                <a:solidFill>
                  <a:prstClr val="black"/>
                </a:solidFill>
                <a:latin typeface="Arial"/>
                <a:cs typeface="Times"/>
              </a:rPr>
              <a:t>, Variation of pitch</a:t>
            </a: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Times"/>
              </a:rPr>
              <a:t> over time</a:t>
            </a: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/>
                <a:ea typeface="+mn-ea"/>
                <a:cs typeface="Times"/>
              </a:rPr>
              <a:t>. </a:t>
            </a:r>
            <a:r>
              <a:rPr lang="en-US" sz="2200">
                <a:solidFill>
                  <a:srgbClr val="0D0D0D"/>
                </a:solidFill>
                <a:latin typeface="Arial"/>
                <a:cs typeface="Times"/>
              </a:rPr>
              <a:t>Data Preprocessing: Extract Spectrograms, enhanced by normalization, compression, &amp; noise reduction</a:t>
            </a:r>
            <a:endParaRPr lang="en-US" sz="2400">
              <a:latin typeface="Arial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A824016D-F13F-AF83-4128-14AD4F646455}"/>
              </a:ext>
            </a:extLst>
          </p:cNvPr>
          <p:cNvSpPr/>
          <p:nvPr/>
        </p:nvSpPr>
        <p:spPr bwMode="auto">
          <a:xfrm>
            <a:off x="24152310" y="5587248"/>
            <a:ext cx="4852162" cy="380438"/>
          </a:xfrm>
          <a:prstGeom prst="rect">
            <a:avLst/>
          </a:prstGeom>
          <a:ln>
            <a:solidFill>
              <a:srgbClr val="DDC69A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ono - Lingual Context</a:t>
            </a:r>
          </a:p>
        </p:txBody>
      </p:sp>
      <p:sp>
        <p:nvSpPr>
          <p:cNvPr id="100" name="Rectangle: Rounded Corners 99">
            <a:extLst>
              <a:ext uri="{FF2B5EF4-FFF2-40B4-BE49-F238E27FC236}">
                <a16:creationId xmlns:a16="http://schemas.microsoft.com/office/drawing/2014/main" id="{1AEDB9D2-4F30-438B-B936-A04F0AB6C83E}"/>
              </a:ext>
            </a:extLst>
          </p:cNvPr>
          <p:cNvSpPr/>
          <p:nvPr/>
        </p:nvSpPr>
        <p:spPr bwMode="auto">
          <a:xfrm>
            <a:off x="13675910" y="15842755"/>
            <a:ext cx="3496303" cy="681027"/>
          </a:xfrm>
          <a:prstGeom prst="roundRect">
            <a:avLst/>
          </a:prstGeom>
          <a:ln w="19050">
            <a:solidFill>
              <a:srgbClr val="B1810B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tep-1 Audio Tokenization: Wav2Vec2Phoneme</a:t>
            </a:r>
          </a:p>
        </p:txBody>
      </p:sp>
      <p:pic>
        <p:nvPicPr>
          <p:cNvPr id="101" name="Picture 100">
            <a:extLst>
              <a:ext uri="{FF2B5EF4-FFF2-40B4-BE49-F238E27FC236}">
                <a16:creationId xmlns:a16="http://schemas.microsoft.com/office/drawing/2014/main" id="{C6B8E5D6-7F67-08DF-22A9-8CA5736F924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2204487" y="16629727"/>
            <a:ext cx="6186490" cy="2601968"/>
          </a:xfrm>
          <a:prstGeom prst="rect">
            <a:avLst/>
          </a:prstGeom>
        </p:spPr>
      </p:pic>
      <p:sp>
        <p:nvSpPr>
          <p:cNvPr id="102" name="Rectangle: Rounded Corners 101">
            <a:extLst>
              <a:ext uri="{FF2B5EF4-FFF2-40B4-BE49-F238E27FC236}">
                <a16:creationId xmlns:a16="http://schemas.microsoft.com/office/drawing/2014/main" id="{3E1AC83C-48E8-E4A0-EFEA-80358CE38DA6}"/>
              </a:ext>
            </a:extLst>
          </p:cNvPr>
          <p:cNvSpPr/>
          <p:nvPr/>
        </p:nvSpPr>
        <p:spPr bwMode="auto">
          <a:xfrm>
            <a:off x="18573676" y="15822638"/>
            <a:ext cx="3496303" cy="669396"/>
          </a:xfrm>
          <a:prstGeom prst="roundRect">
            <a:avLst/>
          </a:prstGeom>
          <a:ln w="19050">
            <a:solidFill>
              <a:srgbClr val="B1810B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tep-2 Text Tokenization:</a:t>
            </a:r>
            <a:b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entencePiece</a:t>
            </a:r>
          </a:p>
        </p:txBody>
      </p:sp>
      <p:pic>
        <p:nvPicPr>
          <p:cNvPr id="103" name="Picture 102">
            <a:extLst>
              <a:ext uri="{FF2B5EF4-FFF2-40B4-BE49-F238E27FC236}">
                <a16:creationId xmlns:a16="http://schemas.microsoft.com/office/drawing/2014/main" id="{395E2870-5C9B-882D-7E3B-359143B7CDD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8953792" y="16599471"/>
            <a:ext cx="2668275" cy="1332888"/>
          </a:xfrm>
          <a:prstGeom prst="rect">
            <a:avLst/>
          </a:prstGeom>
        </p:spPr>
      </p:pic>
      <p:sp>
        <p:nvSpPr>
          <p:cNvPr id="104" name="Rectangle 103">
            <a:extLst>
              <a:ext uri="{FF2B5EF4-FFF2-40B4-BE49-F238E27FC236}">
                <a16:creationId xmlns:a16="http://schemas.microsoft.com/office/drawing/2014/main" id="{8DCBB2BC-659F-003C-253C-C8FBC7468FFE}"/>
              </a:ext>
            </a:extLst>
          </p:cNvPr>
          <p:cNvSpPr/>
          <p:nvPr/>
        </p:nvSpPr>
        <p:spPr bwMode="auto">
          <a:xfrm>
            <a:off x="12031521" y="15694100"/>
            <a:ext cx="10816557" cy="5751449"/>
          </a:xfrm>
          <a:prstGeom prst="rect">
            <a:avLst/>
          </a:prstGeom>
          <a:noFill/>
          <a:ln w="57150">
            <a:solidFill>
              <a:srgbClr val="DDC69A"/>
            </a:solidFill>
            <a:prstDash val="lgDash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+mn-ea"/>
              <a:cs typeface="+mn-cs"/>
            </a:endParaRPr>
          </a:p>
        </p:txBody>
      </p:sp>
      <p:sp>
        <p:nvSpPr>
          <p:cNvPr id="105" name="Rectangle: Rounded Corners 104">
            <a:extLst>
              <a:ext uri="{FF2B5EF4-FFF2-40B4-BE49-F238E27FC236}">
                <a16:creationId xmlns:a16="http://schemas.microsoft.com/office/drawing/2014/main" id="{249E9C0E-3738-9EE8-334E-663889334AA7}"/>
              </a:ext>
            </a:extLst>
          </p:cNvPr>
          <p:cNvSpPr/>
          <p:nvPr/>
        </p:nvSpPr>
        <p:spPr bwMode="auto">
          <a:xfrm>
            <a:off x="24355683" y="6179479"/>
            <a:ext cx="4423923" cy="713843"/>
          </a:xfrm>
          <a:prstGeom prst="roundRect">
            <a:avLst/>
          </a:prstGeom>
          <a:solidFill>
            <a:schemeClr val="accent1"/>
          </a:solidFill>
          <a:ln w="76200"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flomal</a:t>
            </a:r>
            <a:b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Efficient Low memory aligner)</a:t>
            </a: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cxnSp>
        <p:nvCxnSpPr>
          <p:cNvPr id="106" name="Straight Arrow Connector 105">
            <a:extLst>
              <a:ext uri="{FF2B5EF4-FFF2-40B4-BE49-F238E27FC236}">
                <a16:creationId xmlns:a16="http://schemas.microsoft.com/office/drawing/2014/main" id="{EA459CEA-E978-8A98-187E-D2A52CE3D81B}"/>
              </a:ext>
            </a:extLst>
          </p:cNvPr>
          <p:cNvCxnSpPr>
            <a:cxnSpLocks/>
          </p:cNvCxnSpPr>
          <p:nvPr/>
        </p:nvCxnSpPr>
        <p:spPr bwMode="auto">
          <a:xfrm flipH="1">
            <a:off x="29388246" y="8731265"/>
            <a:ext cx="3789759" cy="0"/>
          </a:xfrm>
          <a:prstGeom prst="straightConnector1">
            <a:avLst/>
          </a:prstGeom>
          <a:ln w="76200">
            <a:solidFill>
              <a:srgbClr val="B1810B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ectangle 107">
            <a:extLst>
              <a:ext uri="{FF2B5EF4-FFF2-40B4-BE49-F238E27FC236}">
                <a16:creationId xmlns:a16="http://schemas.microsoft.com/office/drawing/2014/main" id="{06618F52-665F-F62C-E2D1-3049E63F9473}"/>
              </a:ext>
            </a:extLst>
          </p:cNvPr>
          <p:cNvSpPr/>
          <p:nvPr/>
        </p:nvSpPr>
        <p:spPr bwMode="auto">
          <a:xfrm>
            <a:off x="23871904" y="4890448"/>
            <a:ext cx="5337939" cy="5323520"/>
          </a:xfrm>
          <a:prstGeom prst="rect">
            <a:avLst/>
          </a:prstGeom>
          <a:noFill/>
          <a:ln w="57150">
            <a:solidFill>
              <a:srgbClr val="DDC69A"/>
            </a:solidFill>
            <a:prstDash val="lgDash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+mn-ea"/>
              <a:cs typeface="+mn-cs"/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00845E48-A31C-3633-354C-916A3E3360B5}"/>
              </a:ext>
            </a:extLst>
          </p:cNvPr>
          <p:cNvSpPr/>
          <p:nvPr/>
        </p:nvSpPr>
        <p:spPr bwMode="auto">
          <a:xfrm>
            <a:off x="12525369" y="13863187"/>
            <a:ext cx="4569666" cy="391375"/>
          </a:xfrm>
          <a:prstGeom prst="rect">
            <a:avLst/>
          </a:prstGeom>
          <a:ln w="28575">
            <a:solidFill>
              <a:srgbClr val="B1810B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OKENIZATION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1C91B06E-9E66-721C-0E31-793789611BC8}"/>
              </a:ext>
            </a:extLst>
          </p:cNvPr>
          <p:cNvSpPr/>
          <p:nvPr/>
        </p:nvSpPr>
        <p:spPr bwMode="auto">
          <a:xfrm>
            <a:off x="24264007" y="5123915"/>
            <a:ext cx="4539863" cy="325808"/>
          </a:xfrm>
          <a:prstGeom prst="rect">
            <a:avLst/>
          </a:prstGeom>
          <a:ln>
            <a:solidFill>
              <a:srgbClr val="DDC69A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LIGNMENT MODELS</a:t>
            </a:r>
          </a:p>
        </p:txBody>
      </p:sp>
      <p:pic>
        <p:nvPicPr>
          <p:cNvPr id="111" name="Picture 2" descr="Hugging Face - Current Openings">
            <a:extLst>
              <a:ext uri="{FF2B5EF4-FFF2-40B4-BE49-F238E27FC236}">
                <a16:creationId xmlns:a16="http://schemas.microsoft.com/office/drawing/2014/main" id="{BE27638F-BE4F-660F-8C84-932FF0CEFA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77755" y="9279534"/>
            <a:ext cx="1125049" cy="909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2" name="Rectangle: Rounded Corners 111">
            <a:extLst>
              <a:ext uri="{FF2B5EF4-FFF2-40B4-BE49-F238E27FC236}">
                <a16:creationId xmlns:a16="http://schemas.microsoft.com/office/drawing/2014/main" id="{72292C61-45B0-D973-F8CA-C0012C36544E}"/>
              </a:ext>
            </a:extLst>
          </p:cNvPr>
          <p:cNvSpPr/>
          <p:nvPr/>
        </p:nvSpPr>
        <p:spPr bwMode="auto">
          <a:xfrm>
            <a:off x="24264007" y="9526755"/>
            <a:ext cx="2539867" cy="483793"/>
          </a:xfrm>
          <a:prstGeom prst="roundRect">
            <a:avLst/>
          </a:prstGeom>
          <a:solidFill>
            <a:schemeClr val="accent1"/>
          </a:solidFill>
          <a:ln w="76200"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ransformer Models</a:t>
            </a:r>
          </a:p>
        </p:txBody>
      </p:sp>
      <p:pic>
        <p:nvPicPr>
          <p:cNvPr id="113" name="Picture 112">
            <a:extLst>
              <a:ext uri="{FF2B5EF4-FFF2-40B4-BE49-F238E27FC236}">
                <a16:creationId xmlns:a16="http://schemas.microsoft.com/office/drawing/2014/main" id="{A86BC85C-04D6-89D6-4B94-CCC456D2272B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4241461" y="7017653"/>
            <a:ext cx="4723663" cy="1864847"/>
          </a:xfrm>
          <a:prstGeom prst="rect">
            <a:avLst/>
          </a:prstGeom>
        </p:spPr>
      </p:pic>
      <p:sp>
        <p:nvSpPr>
          <p:cNvPr id="114" name="Rectangle 113">
            <a:extLst>
              <a:ext uri="{FF2B5EF4-FFF2-40B4-BE49-F238E27FC236}">
                <a16:creationId xmlns:a16="http://schemas.microsoft.com/office/drawing/2014/main" id="{12E0853C-F1C9-DB38-9EAB-3CCF976D1451}"/>
              </a:ext>
            </a:extLst>
          </p:cNvPr>
          <p:cNvSpPr/>
          <p:nvPr/>
        </p:nvSpPr>
        <p:spPr bwMode="auto">
          <a:xfrm>
            <a:off x="23938235" y="8876228"/>
            <a:ext cx="5250507" cy="380438"/>
          </a:xfrm>
          <a:prstGeom prst="rect">
            <a:avLst/>
          </a:prstGeom>
          <a:ln>
            <a:solidFill>
              <a:srgbClr val="DDC69A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ross - Lingual Context</a:t>
            </a:r>
          </a:p>
        </p:txBody>
      </p:sp>
      <p:sp>
        <p:nvSpPr>
          <p:cNvPr id="115" name="Rectangle: Rounded Corners 114">
            <a:extLst>
              <a:ext uri="{FF2B5EF4-FFF2-40B4-BE49-F238E27FC236}">
                <a16:creationId xmlns:a16="http://schemas.microsoft.com/office/drawing/2014/main" id="{11B20AC3-B8D9-E19E-D080-29CD8362828B}"/>
              </a:ext>
            </a:extLst>
          </p:cNvPr>
          <p:cNvSpPr/>
          <p:nvPr/>
        </p:nvSpPr>
        <p:spPr bwMode="auto">
          <a:xfrm>
            <a:off x="33474300" y="9466662"/>
            <a:ext cx="2251261" cy="613997"/>
          </a:xfrm>
          <a:prstGeom prst="roundRect">
            <a:avLst/>
          </a:prstGeom>
          <a:ln w="12700">
            <a:solidFill>
              <a:srgbClr val="B1810B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edictions</a:t>
            </a:r>
          </a:p>
        </p:txBody>
      </p:sp>
      <p:cxnSp>
        <p:nvCxnSpPr>
          <p:cNvPr id="117" name="Straight Arrow Connector 116">
            <a:extLst>
              <a:ext uri="{FF2B5EF4-FFF2-40B4-BE49-F238E27FC236}">
                <a16:creationId xmlns:a16="http://schemas.microsoft.com/office/drawing/2014/main" id="{359908BF-B723-CC4A-4B53-FB3F34FB8E6B}"/>
              </a:ext>
            </a:extLst>
          </p:cNvPr>
          <p:cNvCxnSpPr>
            <a:cxnSpLocks/>
          </p:cNvCxnSpPr>
          <p:nvPr/>
        </p:nvCxnSpPr>
        <p:spPr bwMode="auto">
          <a:xfrm flipV="1">
            <a:off x="29388246" y="7228183"/>
            <a:ext cx="3905622" cy="12474"/>
          </a:xfrm>
          <a:prstGeom prst="straightConnector1">
            <a:avLst/>
          </a:prstGeom>
          <a:ln w="76200">
            <a:solidFill>
              <a:srgbClr val="B1810B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TextBox 117">
            <a:extLst>
              <a:ext uri="{FF2B5EF4-FFF2-40B4-BE49-F238E27FC236}">
                <a16:creationId xmlns:a16="http://schemas.microsoft.com/office/drawing/2014/main" id="{DE72D443-28EC-2194-E65F-7D6589B298AC}"/>
              </a:ext>
            </a:extLst>
          </p:cNvPr>
          <p:cNvSpPr txBox="1"/>
          <p:nvPr/>
        </p:nvSpPr>
        <p:spPr>
          <a:xfrm>
            <a:off x="29888665" y="8289017"/>
            <a:ext cx="3056514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e-train and optimize</a:t>
            </a:r>
          </a:p>
        </p:txBody>
      </p:sp>
      <p:sp>
        <p:nvSpPr>
          <p:cNvPr id="119" name="Rectangle: Rounded Corners 118">
            <a:extLst>
              <a:ext uri="{FF2B5EF4-FFF2-40B4-BE49-F238E27FC236}">
                <a16:creationId xmlns:a16="http://schemas.microsoft.com/office/drawing/2014/main" id="{8ADB7E36-ECB3-2AD0-FA30-E7A6A82163E5}"/>
              </a:ext>
            </a:extLst>
          </p:cNvPr>
          <p:cNvSpPr/>
          <p:nvPr/>
        </p:nvSpPr>
        <p:spPr bwMode="auto">
          <a:xfrm>
            <a:off x="33285241" y="6919275"/>
            <a:ext cx="2903985" cy="2015152"/>
          </a:xfrm>
          <a:prstGeom prst="roundRect">
            <a:avLst/>
          </a:prstGeom>
          <a:ln w="12700">
            <a:solidFill>
              <a:srgbClr val="B1810B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alidate Model accuracy</a:t>
            </a: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2E7DD04C-3900-8D73-DD36-CED1A8036086}"/>
              </a:ext>
            </a:extLst>
          </p:cNvPr>
          <p:cNvSpPr txBox="1"/>
          <p:nvPr/>
        </p:nvSpPr>
        <p:spPr>
          <a:xfrm>
            <a:off x="29795579" y="6775735"/>
            <a:ext cx="3365362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teration and refinement</a:t>
            </a:r>
          </a:p>
        </p:txBody>
      </p:sp>
      <p:cxnSp>
        <p:nvCxnSpPr>
          <p:cNvPr id="122" name="Straight Arrow Connector 121">
            <a:extLst>
              <a:ext uri="{FF2B5EF4-FFF2-40B4-BE49-F238E27FC236}">
                <a16:creationId xmlns:a16="http://schemas.microsoft.com/office/drawing/2014/main" id="{2FFDE943-A8F2-D1BA-C0C5-D1CA3041D006}"/>
              </a:ext>
            </a:extLst>
          </p:cNvPr>
          <p:cNvCxnSpPr>
            <a:cxnSpLocks/>
          </p:cNvCxnSpPr>
          <p:nvPr/>
        </p:nvCxnSpPr>
        <p:spPr bwMode="auto">
          <a:xfrm>
            <a:off x="34554577" y="8948623"/>
            <a:ext cx="0" cy="480663"/>
          </a:xfrm>
          <a:prstGeom prst="straightConnector1">
            <a:avLst/>
          </a:prstGeom>
          <a:ln w="76200">
            <a:solidFill>
              <a:srgbClr val="B1810B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id="{F252AB23-A0CC-F4D1-3405-BDE010566218}"/>
              </a:ext>
            </a:extLst>
          </p:cNvPr>
          <p:cNvSpPr txBox="1"/>
          <p:nvPr/>
        </p:nvSpPr>
        <p:spPr>
          <a:xfrm>
            <a:off x="12269205" y="9721047"/>
            <a:ext cx="2988642" cy="147732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1580083" rtl="0" eaLnBrk="1" latinLnBrk="0" hangingPunct="1">
              <a:defRPr sz="622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0083" algn="l" defTabSz="1580083" rtl="0" eaLnBrk="1" latinLnBrk="0" hangingPunct="1">
              <a:defRPr sz="622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160166" algn="l" defTabSz="1580083" rtl="0" eaLnBrk="1" latinLnBrk="0" hangingPunct="1">
              <a:defRPr sz="622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40250" algn="l" defTabSz="1580083" rtl="0" eaLnBrk="1" latinLnBrk="0" hangingPunct="1">
              <a:defRPr sz="622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320333" algn="l" defTabSz="1580083" rtl="0" eaLnBrk="1" latinLnBrk="0" hangingPunct="1">
              <a:defRPr sz="622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900416" algn="l" defTabSz="1580083" rtl="0" eaLnBrk="1" latinLnBrk="0" hangingPunct="1">
              <a:defRPr sz="622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480499" algn="l" defTabSz="1580083" rtl="0" eaLnBrk="1" latinLnBrk="0" hangingPunct="1">
              <a:defRPr sz="622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060582" algn="l" defTabSz="1580083" rtl="0" eaLnBrk="1" latinLnBrk="0" hangingPunct="1">
              <a:defRPr sz="622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40666" algn="l" defTabSz="1580083" rtl="0" eaLnBrk="1" latinLnBrk="0" hangingPunct="1">
              <a:defRPr sz="622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580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RAW DATA: </a:t>
            </a:r>
            <a:endParaRPr kumimoji="0" lang="en-US" sz="6221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/>
              <a:ea typeface="+mn-ea"/>
              <a:cs typeface="+mn-cs"/>
            </a:endParaRPr>
          </a:p>
          <a:p>
            <a:pPr marL="0" marR="0" lvl="0" indent="0" algn="l" defTabSz="1580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/>
              <a:ea typeface="+mn-ea"/>
              <a:cs typeface="+mn-cs"/>
            </a:endParaRPr>
          </a:p>
          <a:p>
            <a:pPr marL="0" marR="0" lvl="0" indent="0" algn="l" defTabSz="1580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1. Mozilla Common Voice (Monolingual)</a:t>
            </a:r>
            <a:b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</a:b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2. </a:t>
            </a:r>
            <a:r>
              <a:rPr kumimoji="0" lang="en-US" sz="18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Europarl-st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/>
                <a:ea typeface="+mn-ea"/>
                <a:cs typeface="+mn-cs"/>
              </a:rPr>
              <a:t> (Multilingual)</a:t>
            </a:r>
            <a:endParaRPr kumimoji="0" lang="en-US" sz="6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/>
              <a:ea typeface="+mn-ea"/>
              <a:cs typeface="Times"/>
            </a:endParaRPr>
          </a:p>
        </p:txBody>
      </p:sp>
      <p:sp>
        <p:nvSpPr>
          <p:cNvPr id="32" name="Rectangle 2">
            <a:extLst>
              <a:ext uri="{FF2B5EF4-FFF2-40B4-BE49-F238E27FC236}">
                <a16:creationId xmlns:a16="http://schemas.microsoft.com/office/drawing/2014/main" id="{A4F037CD-C72B-A4DE-116A-634E16DE29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3444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öhne"/>
                <a:ea typeface="+mn-ea"/>
                <a:cs typeface="+mn-cs"/>
              </a:rPr>
            </a:b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AE9DDCD0-725E-9068-C627-57B31586DE90}"/>
              </a:ext>
            </a:extLst>
          </p:cNvPr>
          <p:cNvSpPr txBox="1"/>
          <p:nvPr/>
        </p:nvSpPr>
        <p:spPr>
          <a:xfrm>
            <a:off x="33641992" y="7582739"/>
            <a:ext cx="2841112" cy="92333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Assess and optimize model precision and efficacy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Calibri"/>
              <a:cs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C0F0A95-60C5-DB1E-B82B-8A3E7A935F87}"/>
              </a:ext>
            </a:extLst>
          </p:cNvPr>
          <p:cNvSpPr/>
          <p:nvPr/>
        </p:nvSpPr>
        <p:spPr bwMode="auto">
          <a:xfrm>
            <a:off x="12086344" y="8854297"/>
            <a:ext cx="3610839" cy="552300"/>
          </a:xfrm>
          <a:prstGeom prst="rect">
            <a:avLst/>
          </a:prstGeom>
          <a:ln>
            <a:solidFill>
              <a:srgbClr val="B1810B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Datasets (Labeled- Audio)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42A490F-0D48-64CF-8A88-1AC33B816D45}"/>
              </a:ext>
            </a:extLst>
          </p:cNvPr>
          <p:cNvSpPr/>
          <p:nvPr/>
        </p:nvSpPr>
        <p:spPr bwMode="auto">
          <a:xfrm>
            <a:off x="12040521" y="9505403"/>
            <a:ext cx="3612992" cy="3631996"/>
          </a:xfrm>
          <a:prstGeom prst="rect">
            <a:avLst/>
          </a:prstGeom>
          <a:noFill/>
          <a:ln>
            <a:solidFill>
              <a:srgbClr val="B1810B"/>
            </a:solidFill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+mn-ea"/>
              <a:cs typeface="+mn-cs"/>
            </a:endParaRPr>
          </a:p>
        </p:txBody>
      </p:sp>
      <p:grpSp>
        <p:nvGrpSpPr>
          <p:cNvPr id="80" name="Group 79">
            <a:extLst>
              <a:ext uri="{FF2B5EF4-FFF2-40B4-BE49-F238E27FC236}">
                <a16:creationId xmlns:a16="http://schemas.microsoft.com/office/drawing/2014/main" id="{6BD9A349-F073-7D58-E474-A8ED78B597BD}"/>
              </a:ext>
            </a:extLst>
          </p:cNvPr>
          <p:cNvGrpSpPr/>
          <p:nvPr/>
        </p:nvGrpSpPr>
        <p:grpSpPr>
          <a:xfrm>
            <a:off x="890376" y="13828176"/>
            <a:ext cx="10354467" cy="5931626"/>
            <a:chOff x="158988" y="13969132"/>
            <a:chExt cx="11084976" cy="7720617"/>
          </a:xfrm>
        </p:grpSpPr>
        <p:pic>
          <p:nvPicPr>
            <p:cNvPr id="1036" name="Picture 12" descr="Fine-tune and deploy a Wav2Vec2 model for speech recognition with Hugging  Face and Amazon SageMaker | AWS Machine Learning Blog">
              <a:extLst>
                <a:ext uri="{FF2B5EF4-FFF2-40B4-BE49-F238E27FC236}">
                  <a16:creationId xmlns:a16="http://schemas.microsoft.com/office/drawing/2014/main" id="{83FF6A06-D425-7F37-722F-D72ADAE5C4E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10241" y="16990635"/>
              <a:ext cx="8958273" cy="15864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D5A7686C-C6E3-BCD0-0744-5FC0C5B600D7}"/>
                </a:ext>
              </a:extLst>
            </p:cNvPr>
            <p:cNvSpPr/>
            <p:nvPr/>
          </p:nvSpPr>
          <p:spPr>
            <a:xfrm>
              <a:off x="158988" y="17073341"/>
              <a:ext cx="2212673" cy="9213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  <a:t> Wave2Vec2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  <a:t>Phoneme</a:t>
              </a:r>
            </a:p>
          </p:txBody>
        </p:sp>
        <p:pic>
          <p:nvPicPr>
            <p:cNvPr id="76" name="Picture 2" descr="Bitext word alignment - Wikipedia">
              <a:extLst>
                <a:ext uri="{FF2B5EF4-FFF2-40B4-BE49-F238E27FC236}">
                  <a16:creationId xmlns:a16="http://schemas.microsoft.com/office/drawing/2014/main" id="{694A58B9-E967-4051-58BB-300258823D1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34321" y="19096423"/>
              <a:ext cx="5545687" cy="1959206"/>
            </a:xfrm>
            <a:prstGeom prst="rect">
              <a:avLst/>
            </a:prstGeom>
            <a:noFill/>
            <a:ln>
              <a:solidFill>
                <a:srgbClr val="B1810B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19D31E81-EAEE-50D6-2E4A-A83F32BAF705}"/>
                </a:ext>
              </a:extLst>
            </p:cNvPr>
            <p:cNvSpPr/>
            <p:nvPr/>
          </p:nvSpPr>
          <p:spPr>
            <a:xfrm>
              <a:off x="6579461" y="21168965"/>
              <a:ext cx="3008630" cy="52078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  <a:t> </a:t>
              </a:r>
              <a:r>
                <a:rPr kumimoji="0" lang="en-US" sz="20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  <a:t>Eflomal</a:t>
              </a: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 charset="0"/>
                <a:cs typeface="Arial" panose="020B0604020202020204" pitchFamily="34" charset="0"/>
              </a:endParaRPr>
            </a:p>
          </p:txBody>
        </p:sp>
        <p:pic>
          <p:nvPicPr>
            <p:cNvPr id="71" name="Picture 70">
              <a:extLst>
                <a:ext uri="{FF2B5EF4-FFF2-40B4-BE49-F238E27FC236}">
                  <a16:creationId xmlns:a16="http://schemas.microsoft.com/office/drawing/2014/main" id="{5A68D238-2956-89C6-058C-3DD549EC9878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949938" y="19096423"/>
              <a:ext cx="4038808" cy="2032104"/>
            </a:xfrm>
            <a:prstGeom prst="rect">
              <a:avLst/>
            </a:prstGeom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DE1BBEF-A9D9-C8D7-A464-A2D429BEA774}"/>
                </a:ext>
              </a:extLst>
            </p:cNvPr>
            <p:cNvSpPr/>
            <p:nvPr/>
          </p:nvSpPr>
          <p:spPr>
            <a:xfrm>
              <a:off x="1412544" y="21166404"/>
              <a:ext cx="2646776" cy="52078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  <a:t> </a:t>
              </a:r>
              <a:r>
                <a:rPr kumimoji="0" lang="en-US" sz="20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  <a:t>Soundstream</a:t>
              </a: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 charset="0"/>
                <a:cs typeface="Arial" panose="020B0604020202020204" pitchFamily="34" charset="0"/>
              </a:endParaRP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F236ADC5-80FC-73C6-CCA4-F56FB80FA30E}"/>
                </a:ext>
              </a:extLst>
            </p:cNvPr>
            <p:cNvSpPr/>
            <p:nvPr/>
          </p:nvSpPr>
          <p:spPr>
            <a:xfrm>
              <a:off x="269897" y="15030293"/>
              <a:ext cx="2083870" cy="9213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  <a:t> Sentence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  <a:t>Piece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0C5547D-E64E-7AA9-AFCA-A09AB113F880}"/>
                </a:ext>
              </a:extLst>
            </p:cNvPr>
            <p:cNvSpPr/>
            <p:nvPr/>
          </p:nvSpPr>
          <p:spPr bwMode="auto">
            <a:xfrm>
              <a:off x="227946" y="13969132"/>
              <a:ext cx="11016018" cy="7716218"/>
            </a:xfrm>
            <a:prstGeom prst="rect">
              <a:avLst/>
            </a:prstGeom>
            <a:noFill/>
            <a:ln w="57150">
              <a:solidFill>
                <a:srgbClr val="DDC69A"/>
              </a:solidFill>
              <a:prstDash val="lg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+mn-ea"/>
                <a:cs typeface="+mn-cs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C79945EE-64AA-1844-2054-BAA59FA56B2B}"/>
                </a:ext>
              </a:extLst>
            </p:cNvPr>
            <p:cNvSpPr/>
            <p:nvPr/>
          </p:nvSpPr>
          <p:spPr bwMode="auto">
            <a:xfrm>
              <a:off x="274148" y="14059110"/>
              <a:ext cx="2310880" cy="445439"/>
            </a:xfrm>
            <a:prstGeom prst="rect">
              <a:avLst/>
            </a:prstGeom>
            <a:ln>
              <a:solidFill>
                <a:srgbClr val="B1810B"/>
              </a:solidFill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</a:rPr>
                <a:t>TECHNOLOGIES</a:t>
              </a:r>
            </a:p>
          </p:txBody>
        </p:sp>
        <p:cxnSp>
          <p:nvCxnSpPr>
            <p:cNvPr id="159" name="Straight Arrow Connector 158">
              <a:extLst>
                <a:ext uri="{FF2B5EF4-FFF2-40B4-BE49-F238E27FC236}">
                  <a16:creationId xmlns:a16="http://schemas.microsoft.com/office/drawing/2014/main" id="{4EA8DB94-48AE-F502-301E-AC2C95BF98F4}"/>
                </a:ext>
              </a:extLst>
            </p:cNvPr>
            <p:cNvCxnSpPr>
              <a:cxnSpLocks/>
            </p:cNvCxnSpPr>
            <p:nvPr/>
          </p:nvCxnSpPr>
          <p:spPr>
            <a:xfrm>
              <a:off x="3485235" y="16054686"/>
              <a:ext cx="1731598" cy="0"/>
            </a:xfrm>
            <a:prstGeom prst="straightConnector1">
              <a:avLst/>
            </a:prstGeom>
            <a:ln w="12700">
              <a:solidFill>
                <a:schemeClr val="bg1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pic>
          <p:nvPicPr>
            <p:cNvPr id="185" name="Picture 184">
              <a:extLst>
                <a:ext uri="{FF2B5EF4-FFF2-40B4-BE49-F238E27FC236}">
                  <a16:creationId xmlns:a16="http://schemas.microsoft.com/office/drawing/2014/main" id="{C10E1828-5A02-523E-0AB9-D5A8347B3378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2611012" y="14125098"/>
              <a:ext cx="7069800" cy="2809612"/>
            </a:xfrm>
            <a:prstGeom prst="rect">
              <a:avLst/>
            </a:prstGeom>
          </p:spPr>
        </p:pic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8EAF6C6F-A4B7-905D-E880-91BC04473EB5}"/>
              </a:ext>
            </a:extLst>
          </p:cNvPr>
          <p:cNvSpPr/>
          <p:nvPr/>
        </p:nvSpPr>
        <p:spPr>
          <a:xfrm>
            <a:off x="24175823" y="10427064"/>
            <a:ext cx="4216471" cy="52322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odel Deployment</a:t>
            </a: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5BBD35B-A43A-B30F-FADA-B6C0CC462B75}"/>
              </a:ext>
            </a:extLst>
          </p:cNvPr>
          <p:cNvSpPr/>
          <p:nvPr/>
        </p:nvSpPr>
        <p:spPr bwMode="auto">
          <a:xfrm>
            <a:off x="23654356" y="10508445"/>
            <a:ext cx="365760" cy="365760"/>
          </a:xfrm>
          <a:prstGeom prst="rect">
            <a:avLst/>
          </a:prstGeom>
          <a:solidFill>
            <a:srgbClr val="DDC69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+mn-ea"/>
              <a:cs typeface="+mn-cs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FA620BD-D028-B0E1-BE83-E5391C856139}"/>
              </a:ext>
            </a:extLst>
          </p:cNvPr>
          <p:cNvCxnSpPr>
            <a:cxnSpLocks/>
          </p:cNvCxnSpPr>
          <p:nvPr/>
        </p:nvCxnSpPr>
        <p:spPr bwMode="auto">
          <a:xfrm>
            <a:off x="27990548" y="10666710"/>
            <a:ext cx="1513593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B1810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2B32053B-F877-A051-7E71-F8BF19F17D4A}"/>
              </a:ext>
            </a:extLst>
          </p:cNvPr>
          <p:cNvSpPr txBox="1"/>
          <p:nvPr/>
        </p:nvSpPr>
        <p:spPr>
          <a:xfrm>
            <a:off x="24118110" y="10869515"/>
            <a:ext cx="19249296" cy="43088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200">
                <a:solidFill>
                  <a:srgbClr val="0D0D0D"/>
                </a:solidFill>
                <a:latin typeface="Arial"/>
                <a:cs typeface="Arial"/>
              </a:rPr>
              <a:t>Using e</a:t>
            </a:r>
            <a:r>
              <a:rPr kumimoji="0" lang="en-US" sz="2200" b="0" u="none" strike="noStrike" kern="1200" cap="none" spc="0" normalizeH="0" baseline="0" noProof="0" err="1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lomal</a:t>
            </a:r>
            <a:r>
              <a:rPr kumimoji="0" lang="en-US" sz="2200" b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we generate forward, reverse, and prior files which provides detailed mappings and alignment probabilities between languages.</a:t>
            </a:r>
            <a:endParaRPr kumimoji="0" lang="en-US" b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+mn-ea"/>
              <a:cs typeface="+mn-cs"/>
            </a:endParaRP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29949CB9-A8A9-D14B-51D4-E587DF7A9A36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-19455" y="1141444"/>
            <a:ext cx="4683110" cy="1413372"/>
          </a:xfrm>
          <a:prstGeom prst="rect">
            <a:avLst/>
          </a:prstGeom>
        </p:spPr>
      </p:pic>
      <p:pic>
        <p:nvPicPr>
          <p:cNvPr id="49" name="Picture 48" descr="A table with numbers and symbols&#10;&#10;Description automatically generated">
            <a:extLst>
              <a:ext uri="{FF2B5EF4-FFF2-40B4-BE49-F238E27FC236}">
                <a16:creationId xmlns:a16="http://schemas.microsoft.com/office/drawing/2014/main" id="{57BE205B-654D-21B7-5B42-36F7BB1EC16E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37751725" y="14804204"/>
            <a:ext cx="4391468" cy="2314983"/>
          </a:xfrm>
          <a:prstGeom prst="rect">
            <a:avLst/>
          </a:prstGeom>
        </p:spPr>
      </p:pic>
      <p:pic>
        <p:nvPicPr>
          <p:cNvPr id="10" name="Picture 9" descr="A cartoon character with headphones&#10;&#10;Description automatically generated">
            <a:extLst>
              <a:ext uri="{FF2B5EF4-FFF2-40B4-BE49-F238E27FC236}">
                <a16:creationId xmlns:a16="http://schemas.microsoft.com/office/drawing/2014/main" id="{42D91376-959F-F1D7-B225-735DFD100997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12345217" y="11488582"/>
            <a:ext cx="3082498" cy="1243689"/>
          </a:xfrm>
          <a:prstGeom prst="rect">
            <a:avLst/>
          </a:prstGeom>
        </p:spPr>
      </p:pic>
      <p:sp>
        <p:nvSpPr>
          <p:cNvPr id="99" name="Rectangle 98">
            <a:extLst>
              <a:ext uri="{FF2B5EF4-FFF2-40B4-BE49-F238E27FC236}">
                <a16:creationId xmlns:a16="http://schemas.microsoft.com/office/drawing/2014/main" id="{13675121-BBEE-857F-2D65-7011DFFE3E19}"/>
              </a:ext>
            </a:extLst>
          </p:cNvPr>
          <p:cNvSpPr/>
          <p:nvPr/>
        </p:nvSpPr>
        <p:spPr>
          <a:xfrm>
            <a:off x="24160030" y="17641499"/>
            <a:ext cx="5512370" cy="52322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oject Lifecycle Management</a:t>
            </a: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D3B1CEC5-1058-B711-6140-E44CFE6C6BF7}"/>
              </a:ext>
            </a:extLst>
          </p:cNvPr>
          <p:cNvSpPr/>
          <p:nvPr/>
        </p:nvSpPr>
        <p:spPr bwMode="auto">
          <a:xfrm>
            <a:off x="23625525" y="17725212"/>
            <a:ext cx="365760" cy="365760"/>
          </a:xfrm>
          <a:prstGeom prst="rect">
            <a:avLst/>
          </a:prstGeom>
          <a:solidFill>
            <a:srgbClr val="DDC69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+mn-ea"/>
              <a:cs typeface="+mn-cs"/>
            </a:endParaRPr>
          </a:p>
        </p:txBody>
      </p: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AC741CEE-FE22-5463-166D-440B219D4B1B}"/>
              </a:ext>
            </a:extLst>
          </p:cNvPr>
          <p:cNvCxnSpPr>
            <a:cxnSpLocks/>
          </p:cNvCxnSpPr>
          <p:nvPr/>
        </p:nvCxnSpPr>
        <p:spPr bwMode="auto">
          <a:xfrm flipV="1">
            <a:off x="29672400" y="17881077"/>
            <a:ext cx="13416921" cy="5277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B1810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51" name="Group 50">
            <a:extLst>
              <a:ext uri="{FF2B5EF4-FFF2-40B4-BE49-F238E27FC236}">
                <a16:creationId xmlns:a16="http://schemas.microsoft.com/office/drawing/2014/main" id="{FC7C3C3E-B526-9527-3A6F-853AF55447A4}"/>
              </a:ext>
            </a:extLst>
          </p:cNvPr>
          <p:cNvGrpSpPr/>
          <p:nvPr/>
        </p:nvGrpSpPr>
        <p:grpSpPr>
          <a:xfrm>
            <a:off x="36913341" y="4500844"/>
            <a:ext cx="6298722" cy="5635005"/>
            <a:chOff x="23647131" y="11543234"/>
            <a:chExt cx="6298722" cy="5635005"/>
          </a:xfrm>
        </p:grpSpPr>
        <p:pic>
          <p:nvPicPr>
            <p:cNvPr id="37" name="Picture 36" descr="A close-up of a text&#10;&#10;Description automatically generated">
              <a:extLst>
                <a:ext uri="{FF2B5EF4-FFF2-40B4-BE49-F238E27FC236}">
                  <a16:creationId xmlns:a16="http://schemas.microsoft.com/office/drawing/2014/main" id="{BE542016-AFE0-A140-9CB7-3E9CCD6D72F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2"/>
            <a:srcRect b="15207"/>
            <a:stretch/>
          </p:blipFill>
          <p:spPr>
            <a:xfrm>
              <a:off x="23965506" y="12439112"/>
              <a:ext cx="2635166" cy="1322587"/>
            </a:xfrm>
            <a:prstGeom prst="rect">
              <a:avLst/>
            </a:prstGeom>
          </p:spPr>
        </p:pic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4781D417-9F85-6085-11EF-22D6B97B2D49}"/>
                </a:ext>
              </a:extLst>
            </p:cNvPr>
            <p:cNvSpPr txBox="1"/>
            <p:nvPr/>
          </p:nvSpPr>
          <p:spPr>
            <a:xfrm>
              <a:off x="23771431" y="14716897"/>
              <a:ext cx="6174422" cy="1938992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Bilingual Input Requirement</a:t>
              </a: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:</a:t>
              </a: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</a:endParaRPr>
            </a:p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Char char="•"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Requires input files in both languages for analysis.</a:t>
              </a: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</a:endParaRPr>
            </a:p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Char char="•"/>
                <a:tabLst/>
                <a:defRPr/>
              </a:pPr>
              <a:r>
                <a:rPr kumimoji="0" lang="en-US" sz="2000" b="0" i="0" u="none" strike="noStrike" kern="1200" cap="none" spc="0" normalizeH="0" baseline="0" noProof="0" err="1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Eflomal</a:t>
              </a: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processes these files to determine cross-language token mapping.</a:t>
              </a: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</a:endParaRPr>
            </a:p>
          </p:txBody>
        </p:sp>
        <p:pic>
          <p:nvPicPr>
            <p:cNvPr id="48" name="Picture 47" descr="A screenshot of a computer&#10;&#10;Description automatically generated">
              <a:extLst>
                <a:ext uri="{FF2B5EF4-FFF2-40B4-BE49-F238E27FC236}">
                  <a16:creationId xmlns:a16="http://schemas.microsoft.com/office/drawing/2014/main" id="{2400D2D6-ADCA-C82D-A674-82AE3F70538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3"/>
            <a:srcRect t="5875" b="15486"/>
            <a:stretch/>
          </p:blipFill>
          <p:spPr>
            <a:xfrm>
              <a:off x="26998455" y="12469557"/>
              <a:ext cx="2652130" cy="1255950"/>
            </a:xfrm>
            <a:prstGeom prst="rect">
              <a:avLst/>
            </a:prstGeom>
          </p:spPr>
        </p:pic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CB1E1248-9375-D095-9538-9752E89B65E7}"/>
                </a:ext>
              </a:extLst>
            </p:cNvPr>
            <p:cNvSpPr/>
            <p:nvPr/>
          </p:nvSpPr>
          <p:spPr bwMode="auto">
            <a:xfrm>
              <a:off x="23647131" y="11543234"/>
              <a:ext cx="6298722" cy="5635005"/>
            </a:xfrm>
            <a:prstGeom prst="rect">
              <a:avLst/>
            </a:prstGeom>
            <a:noFill/>
            <a:ln w="57150">
              <a:solidFill>
                <a:srgbClr val="CFB991"/>
              </a:solidFill>
              <a:prstDash val="lgDash"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+mn-ea"/>
                <a:cs typeface="Times"/>
              </a:endParaRPr>
            </a:p>
          </p:txBody>
        </p:sp>
        <p:sp>
          <p:nvSpPr>
            <p:cNvPr id="74" name="Rectangle: Rounded Corners 73">
              <a:extLst>
                <a:ext uri="{FF2B5EF4-FFF2-40B4-BE49-F238E27FC236}">
                  <a16:creationId xmlns:a16="http://schemas.microsoft.com/office/drawing/2014/main" id="{1AEDB9D2-4F30-438B-B936-A04F0AB6C83E}"/>
                </a:ext>
              </a:extLst>
            </p:cNvPr>
            <p:cNvSpPr/>
            <p:nvPr/>
          </p:nvSpPr>
          <p:spPr bwMode="auto">
            <a:xfrm>
              <a:off x="23901896" y="11635502"/>
              <a:ext cx="2779353" cy="428773"/>
            </a:xfrm>
            <a:prstGeom prst="roundRect">
              <a:avLst/>
            </a:prstGeom>
            <a:ln w="19050">
              <a:solidFill>
                <a:srgbClr val="B1810B"/>
              </a:solidFill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en-AU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30477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609539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914309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219078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6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6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6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6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English transcript</a:t>
              </a:r>
            </a:p>
          </p:txBody>
        </p:sp>
        <p:sp>
          <p:nvSpPr>
            <p:cNvPr id="79" name="Rectangle: Rounded Corners 78">
              <a:extLst>
                <a:ext uri="{FF2B5EF4-FFF2-40B4-BE49-F238E27FC236}">
                  <a16:creationId xmlns:a16="http://schemas.microsoft.com/office/drawing/2014/main" id="{1AEDB9D2-4F30-438B-B936-A04F0AB6C83E}"/>
                </a:ext>
              </a:extLst>
            </p:cNvPr>
            <p:cNvSpPr/>
            <p:nvPr/>
          </p:nvSpPr>
          <p:spPr bwMode="auto">
            <a:xfrm>
              <a:off x="26931370" y="11627735"/>
              <a:ext cx="2866710" cy="444567"/>
            </a:xfrm>
            <a:prstGeom prst="roundRect">
              <a:avLst/>
            </a:prstGeom>
            <a:ln w="19050">
              <a:solidFill>
                <a:srgbClr val="B1810B"/>
              </a:solidFill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en-AU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30477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609539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914309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219078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6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6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6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6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Swedish transcript</a:t>
              </a: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24" name="Picture 123">
              <a:extLst>
                <a:ext uri="{FF2B5EF4-FFF2-40B4-BE49-F238E27FC236}">
                  <a16:creationId xmlns:a16="http://schemas.microsoft.com/office/drawing/2014/main" id="{FD45F97A-0DC3-C409-0A4B-4B7797F3924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4"/>
            <a:srcRect t="23261" r="6511" b="39619"/>
            <a:stretch/>
          </p:blipFill>
          <p:spPr>
            <a:xfrm>
              <a:off x="24438918" y="14077068"/>
              <a:ext cx="4711362" cy="768805"/>
            </a:xfrm>
            <a:prstGeom prst="rect">
              <a:avLst/>
            </a:prstGeom>
          </p:spPr>
        </p:pic>
      </p:grpSp>
      <p:sp>
        <p:nvSpPr>
          <p:cNvPr id="84" name="TextBox 83">
            <a:extLst>
              <a:ext uri="{FF2B5EF4-FFF2-40B4-BE49-F238E27FC236}">
                <a16:creationId xmlns:a16="http://schemas.microsoft.com/office/drawing/2014/main" id="{4322EF37-8F4E-1AFF-68D0-4DE3018E8673}"/>
              </a:ext>
            </a:extLst>
          </p:cNvPr>
          <p:cNvSpPr txBox="1"/>
          <p:nvPr/>
        </p:nvSpPr>
        <p:spPr>
          <a:xfrm>
            <a:off x="34928562" y="17325925"/>
            <a:ext cx="9788543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1800">
                <a:solidFill>
                  <a:srgbClr val="0D0D0D"/>
                </a:solidFill>
                <a:latin typeface="Arial"/>
                <a:ea typeface="Calibri"/>
                <a:cs typeface="Times"/>
              </a:rPr>
              <a:t>Comparing various alignment models, Eflomal worked best w.r.t Alignment error rate</a:t>
            </a: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227DF6BF-5F77-87E9-F948-533FF6944D30}"/>
              </a:ext>
            </a:extLst>
          </p:cNvPr>
          <p:cNvSpPr/>
          <p:nvPr/>
        </p:nvSpPr>
        <p:spPr bwMode="auto">
          <a:xfrm>
            <a:off x="15918225" y="9344552"/>
            <a:ext cx="3599989" cy="394470"/>
          </a:xfrm>
          <a:prstGeom prst="rect">
            <a:avLst/>
          </a:prstGeom>
          <a:ln>
            <a:solidFill>
              <a:srgbClr val="B1810B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ssing Audio Simulation</a:t>
            </a:r>
          </a:p>
        </p:txBody>
      </p:sp>
      <p:pic>
        <p:nvPicPr>
          <p:cNvPr id="128" name="Picture 127">
            <a:extLst>
              <a:ext uri="{FF2B5EF4-FFF2-40B4-BE49-F238E27FC236}">
                <a16:creationId xmlns:a16="http://schemas.microsoft.com/office/drawing/2014/main" id="{5681E20E-8B1F-B8A7-257B-6DB9C2C8315D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16279957" y="10052373"/>
            <a:ext cx="2692435" cy="159713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30" name="Rectangle 129">
            <a:extLst>
              <a:ext uri="{FF2B5EF4-FFF2-40B4-BE49-F238E27FC236}">
                <a16:creationId xmlns:a16="http://schemas.microsoft.com/office/drawing/2014/main" id="{64EC1E38-2D76-4B0B-A0AD-F076DDD2EF60}"/>
              </a:ext>
            </a:extLst>
          </p:cNvPr>
          <p:cNvSpPr/>
          <p:nvPr/>
        </p:nvSpPr>
        <p:spPr bwMode="auto">
          <a:xfrm>
            <a:off x="19671908" y="9330219"/>
            <a:ext cx="3058915" cy="431223"/>
          </a:xfrm>
          <a:prstGeom prst="rect">
            <a:avLst/>
          </a:prstGeom>
          <a:ln>
            <a:solidFill>
              <a:srgbClr val="B1810B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ssing Text Simulation</a:t>
            </a:r>
          </a:p>
        </p:txBody>
      </p:sp>
      <p:pic>
        <p:nvPicPr>
          <p:cNvPr id="131" name="Picture 130">
            <a:extLst>
              <a:ext uri="{FF2B5EF4-FFF2-40B4-BE49-F238E27FC236}">
                <a16:creationId xmlns:a16="http://schemas.microsoft.com/office/drawing/2014/main" id="{726C2F28-CF81-05EA-218B-50B5776B205E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19750441" y="10084606"/>
            <a:ext cx="2740427" cy="154958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32" name="Rectangle 131">
            <a:extLst>
              <a:ext uri="{FF2B5EF4-FFF2-40B4-BE49-F238E27FC236}">
                <a16:creationId xmlns:a16="http://schemas.microsoft.com/office/drawing/2014/main" id="{4A1B8EB5-8ABA-6C32-9CE4-75F96F202AE1}"/>
              </a:ext>
            </a:extLst>
          </p:cNvPr>
          <p:cNvSpPr/>
          <p:nvPr/>
        </p:nvSpPr>
        <p:spPr bwMode="auto">
          <a:xfrm>
            <a:off x="15915917" y="8881511"/>
            <a:ext cx="6844071" cy="400593"/>
          </a:xfrm>
          <a:prstGeom prst="rect">
            <a:avLst/>
          </a:prstGeom>
          <a:ln>
            <a:solidFill>
              <a:srgbClr val="DDC69A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XPERIMENTATION: INDUCING REAL WORLD INCONSISTENCIES</a:t>
            </a:r>
          </a:p>
        </p:txBody>
      </p:sp>
      <p:grpSp>
        <p:nvGrpSpPr>
          <p:cNvPr id="134" name="Group 8">
            <a:extLst>
              <a:ext uri="{FF2B5EF4-FFF2-40B4-BE49-F238E27FC236}">
                <a16:creationId xmlns:a16="http://schemas.microsoft.com/office/drawing/2014/main" id="{6B8C9A62-2C1B-B23D-BCF4-984362A828CD}"/>
              </a:ext>
            </a:extLst>
          </p:cNvPr>
          <p:cNvGrpSpPr/>
          <p:nvPr/>
        </p:nvGrpSpPr>
        <p:grpSpPr>
          <a:xfrm>
            <a:off x="23994254" y="18125575"/>
            <a:ext cx="1394720" cy="1413292"/>
            <a:chOff x="0" y="0"/>
            <a:chExt cx="812800" cy="812800"/>
          </a:xfrm>
        </p:grpSpPr>
        <p:sp>
          <p:nvSpPr>
            <p:cNvPr id="138" name="Freeform 9">
              <a:extLst>
                <a:ext uri="{FF2B5EF4-FFF2-40B4-BE49-F238E27FC236}">
                  <a16:creationId xmlns:a16="http://schemas.microsoft.com/office/drawing/2014/main" id="{E83F505C-57A9-9A11-F00D-DCAC3C88E05E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+mn-ea"/>
                <a:cs typeface="+mn-cs"/>
              </a:endParaRPr>
            </a:p>
          </p:txBody>
        </p:sp>
        <p:sp>
          <p:nvSpPr>
            <p:cNvPr id="139" name="TextBox 10">
              <a:extLst>
                <a:ext uri="{FF2B5EF4-FFF2-40B4-BE49-F238E27FC236}">
                  <a16:creationId xmlns:a16="http://schemas.microsoft.com/office/drawing/2014/main" id="{8DEE0D9A-4906-4F5C-E5E9-77A9018E0B96}"/>
                </a:ext>
              </a:extLst>
            </p:cNvPr>
            <p:cNvSpPr txBox="1"/>
            <p:nvPr/>
          </p:nvSpPr>
          <p:spPr>
            <a:xfrm>
              <a:off x="76200" y="38100"/>
              <a:ext cx="660400" cy="698500"/>
            </a:xfrm>
            <a:prstGeom prst="rect">
              <a:avLst/>
            </a:prstGeom>
          </p:spPr>
          <p:txBody>
            <a:bodyPr lIns="108373" tIns="108373" rIns="108373" bIns="108373" rtlCol="0" anchor="ctr"/>
            <a:lstStyle>
              <a:defPPr>
                <a:defRPr lang="en-US"/>
              </a:defPPr>
              <a:lvl1pPr marL="0" algn="l" defTabSz="2106778" rtl="0" eaLnBrk="1" latinLnBrk="0" hangingPunct="1">
                <a:defRPr sz="414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053389" algn="l" defTabSz="2106778" rtl="0" eaLnBrk="1" latinLnBrk="0" hangingPunct="1">
                <a:defRPr sz="414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06778" algn="l" defTabSz="2106778" rtl="0" eaLnBrk="1" latinLnBrk="0" hangingPunct="1">
                <a:defRPr sz="414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160166" algn="l" defTabSz="2106778" rtl="0" eaLnBrk="1" latinLnBrk="0" hangingPunct="1">
                <a:defRPr sz="414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213555" algn="l" defTabSz="2106778" rtl="0" eaLnBrk="1" latinLnBrk="0" hangingPunct="1">
                <a:defRPr sz="414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5266944" algn="l" defTabSz="2106778" rtl="0" eaLnBrk="1" latinLnBrk="0" hangingPunct="1">
                <a:defRPr sz="414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6320333" algn="l" defTabSz="2106778" rtl="0" eaLnBrk="1" latinLnBrk="0" hangingPunct="1">
                <a:defRPr sz="414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7373722" algn="l" defTabSz="2106778" rtl="0" eaLnBrk="1" latinLnBrk="0" hangingPunct="1">
                <a:defRPr sz="414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8427110" algn="l" defTabSz="2106778" rtl="0" eaLnBrk="1" latinLnBrk="0" hangingPunct="1">
                <a:defRPr sz="414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106778" rtl="0" eaLnBrk="1" fontAlgn="base" latinLnBrk="0" hangingPunct="1">
                <a:lnSpc>
                  <a:spcPts val="448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sz="884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/>
                <a:ea typeface="+mn-ea"/>
                <a:cs typeface="+mn-cs"/>
              </a:endParaRPr>
            </a:p>
          </p:txBody>
        </p:sp>
      </p:grpSp>
      <p:grpSp>
        <p:nvGrpSpPr>
          <p:cNvPr id="142" name="Group 14">
            <a:extLst>
              <a:ext uri="{FF2B5EF4-FFF2-40B4-BE49-F238E27FC236}">
                <a16:creationId xmlns:a16="http://schemas.microsoft.com/office/drawing/2014/main" id="{E3CC83CE-3ED6-A509-14E5-39D63E491344}"/>
              </a:ext>
            </a:extLst>
          </p:cNvPr>
          <p:cNvGrpSpPr/>
          <p:nvPr/>
        </p:nvGrpSpPr>
        <p:grpSpPr>
          <a:xfrm>
            <a:off x="28249538" y="18113691"/>
            <a:ext cx="1399032" cy="1417320"/>
            <a:chOff x="0" y="0"/>
            <a:chExt cx="812800" cy="812800"/>
          </a:xfrm>
        </p:grpSpPr>
        <p:sp>
          <p:nvSpPr>
            <p:cNvPr id="145" name="Freeform 15">
              <a:extLst>
                <a:ext uri="{FF2B5EF4-FFF2-40B4-BE49-F238E27FC236}">
                  <a16:creationId xmlns:a16="http://schemas.microsoft.com/office/drawing/2014/main" id="{F8E225AF-DEF1-8060-C320-37AA49EFFA30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+mn-ea"/>
                <a:cs typeface="+mn-cs"/>
              </a:endParaRPr>
            </a:p>
          </p:txBody>
        </p:sp>
        <p:sp>
          <p:nvSpPr>
            <p:cNvPr id="146" name="TextBox 16">
              <a:extLst>
                <a:ext uri="{FF2B5EF4-FFF2-40B4-BE49-F238E27FC236}">
                  <a16:creationId xmlns:a16="http://schemas.microsoft.com/office/drawing/2014/main" id="{F240967D-16EC-4512-046D-AB2ECEE9F4CB}"/>
                </a:ext>
              </a:extLst>
            </p:cNvPr>
            <p:cNvSpPr txBox="1"/>
            <p:nvPr/>
          </p:nvSpPr>
          <p:spPr>
            <a:xfrm>
              <a:off x="76200" y="38100"/>
              <a:ext cx="660400" cy="698500"/>
            </a:xfrm>
            <a:prstGeom prst="rect">
              <a:avLst/>
            </a:prstGeom>
          </p:spPr>
          <p:txBody>
            <a:bodyPr lIns="108373" tIns="108373" rIns="108373" bIns="108373" rtlCol="0" anchor="ctr"/>
            <a:lstStyle>
              <a:defPPr>
                <a:defRPr lang="en-US"/>
              </a:defPPr>
              <a:lvl1pPr marL="0" algn="l" defTabSz="2106778" rtl="0" eaLnBrk="1" latinLnBrk="0" hangingPunct="1">
                <a:defRPr sz="414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053389" algn="l" defTabSz="2106778" rtl="0" eaLnBrk="1" latinLnBrk="0" hangingPunct="1">
                <a:defRPr sz="414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06778" algn="l" defTabSz="2106778" rtl="0" eaLnBrk="1" latinLnBrk="0" hangingPunct="1">
                <a:defRPr sz="414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160166" algn="l" defTabSz="2106778" rtl="0" eaLnBrk="1" latinLnBrk="0" hangingPunct="1">
                <a:defRPr sz="414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213555" algn="l" defTabSz="2106778" rtl="0" eaLnBrk="1" latinLnBrk="0" hangingPunct="1">
                <a:defRPr sz="414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5266944" algn="l" defTabSz="2106778" rtl="0" eaLnBrk="1" latinLnBrk="0" hangingPunct="1">
                <a:defRPr sz="414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6320333" algn="l" defTabSz="2106778" rtl="0" eaLnBrk="1" latinLnBrk="0" hangingPunct="1">
                <a:defRPr sz="414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7373722" algn="l" defTabSz="2106778" rtl="0" eaLnBrk="1" latinLnBrk="0" hangingPunct="1">
                <a:defRPr sz="414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8427110" algn="l" defTabSz="2106778" rtl="0" eaLnBrk="1" latinLnBrk="0" hangingPunct="1">
                <a:defRPr sz="414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106778" rtl="0" eaLnBrk="1" fontAlgn="base" latinLnBrk="0" hangingPunct="1">
                <a:lnSpc>
                  <a:spcPts val="448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sz="884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/>
                <a:ea typeface="+mn-ea"/>
                <a:cs typeface="+mn-cs"/>
              </a:endParaRPr>
            </a:p>
          </p:txBody>
        </p:sp>
      </p:grpSp>
      <p:grpSp>
        <p:nvGrpSpPr>
          <p:cNvPr id="148" name="Group 19">
            <a:extLst>
              <a:ext uri="{FF2B5EF4-FFF2-40B4-BE49-F238E27FC236}">
                <a16:creationId xmlns:a16="http://schemas.microsoft.com/office/drawing/2014/main" id="{B279548D-DD49-CFA9-676C-4F11483A03C1}"/>
              </a:ext>
            </a:extLst>
          </p:cNvPr>
          <p:cNvGrpSpPr/>
          <p:nvPr/>
        </p:nvGrpSpPr>
        <p:grpSpPr>
          <a:xfrm>
            <a:off x="32478490" y="18122548"/>
            <a:ext cx="1399032" cy="1417320"/>
            <a:chOff x="0" y="0"/>
            <a:chExt cx="812800" cy="812800"/>
          </a:xfrm>
        </p:grpSpPr>
        <p:sp>
          <p:nvSpPr>
            <p:cNvPr id="150" name="Freeform 20">
              <a:extLst>
                <a:ext uri="{FF2B5EF4-FFF2-40B4-BE49-F238E27FC236}">
                  <a16:creationId xmlns:a16="http://schemas.microsoft.com/office/drawing/2014/main" id="{E0F06B35-F87C-6F80-3367-1B82657CC8E4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chemeClr val="bg2">
                <a:lumMod val="50000"/>
              </a:schemeClr>
            </a:solidFill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+mn-ea"/>
                <a:cs typeface="+mn-cs"/>
              </a:endParaRPr>
            </a:p>
          </p:txBody>
        </p:sp>
        <p:sp>
          <p:nvSpPr>
            <p:cNvPr id="151" name="TextBox 21">
              <a:extLst>
                <a:ext uri="{FF2B5EF4-FFF2-40B4-BE49-F238E27FC236}">
                  <a16:creationId xmlns:a16="http://schemas.microsoft.com/office/drawing/2014/main" id="{0969F971-6038-BB17-E778-E195DA83DC3D}"/>
                </a:ext>
              </a:extLst>
            </p:cNvPr>
            <p:cNvSpPr txBox="1"/>
            <p:nvPr/>
          </p:nvSpPr>
          <p:spPr>
            <a:xfrm>
              <a:off x="76200" y="38100"/>
              <a:ext cx="660400" cy="698500"/>
            </a:xfrm>
            <a:prstGeom prst="rect">
              <a:avLst/>
            </a:prstGeom>
          </p:spPr>
          <p:txBody>
            <a:bodyPr lIns="108373" tIns="108373" rIns="108373" bIns="108373" rtlCol="0" anchor="ctr"/>
            <a:lstStyle>
              <a:defPPr>
                <a:defRPr lang="en-US"/>
              </a:defPPr>
              <a:lvl1pPr marL="0" algn="l" defTabSz="2106778" rtl="0" eaLnBrk="1" latinLnBrk="0" hangingPunct="1">
                <a:defRPr sz="414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053389" algn="l" defTabSz="2106778" rtl="0" eaLnBrk="1" latinLnBrk="0" hangingPunct="1">
                <a:defRPr sz="414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06778" algn="l" defTabSz="2106778" rtl="0" eaLnBrk="1" latinLnBrk="0" hangingPunct="1">
                <a:defRPr sz="414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160166" algn="l" defTabSz="2106778" rtl="0" eaLnBrk="1" latinLnBrk="0" hangingPunct="1">
                <a:defRPr sz="414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213555" algn="l" defTabSz="2106778" rtl="0" eaLnBrk="1" latinLnBrk="0" hangingPunct="1">
                <a:defRPr sz="414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5266944" algn="l" defTabSz="2106778" rtl="0" eaLnBrk="1" latinLnBrk="0" hangingPunct="1">
                <a:defRPr sz="414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6320333" algn="l" defTabSz="2106778" rtl="0" eaLnBrk="1" latinLnBrk="0" hangingPunct="1">
                <a:defRPr sz="414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7373722" algn="l" defTabSz="2106778" rtl="0" eaLnBrk="1" latinLnBrk="0" hangingPunct="1">
                <a:defRPr sz="414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8427110" algn="l" defTabSz="2106778" rtl="0" eaLnBrk="1" latinLnBrk="0" hangingPunct="1">
                <a:defRPr sz="414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106778" rtl="0" eaLnBrk="1" fontAlgn="base" latinLnBrk="0" hangingPunct="1">
                <a:lnSpc>
                  <a:spcPts val="448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sz="884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/>
                <a:ea typeface="+mn-ea"/>
                <a:cs typeface="+mn-cs"/>
              </a:endParaRPr>
            </a:p>
          </p:txBody>
        </p:sp>
      </p:grpSp>
      <p:grpSp>
        <p:nvGrpSpPr>
          <p:cNvPr id="153" name="Group 24">
            <a:extLst>
              <a:ext uri="{FF2B5EF4-FFF2-40B4-BE49-F238E27FC236}">
                <a16:creationId xmlns:a16="http://schemas.microsoft.com/office/drawing/2014/main" id="{F13EDF6F-3438-BB9F-9F5F-25BE4E4AA04B}"/>
              </a:ext>
            </a:extLst>
          </p:cNvPr>
          <p:cNvGrpSpPr/>
          <p:nvPr/>
        </p:nvGrpSpPr>
        <p:grpSpPr>
          <a:xfrm>
            <a:off x="36757297" y="18118146"/>
            <a:ext cx="1399032" cy="1417320"/>
            <a:chOff x="0" y="0"/>
            <a:chExt cx="812800" cy="812800"/>
          </a:xfrm>
        </p:grpSpPr>
        <p:sp>
          <p:nvSpPr>
            <p:cNvPr id="155" name="Freeform 25">
              <a:extLst>
                <a:ext uri="{FF2B5EF4-FFF2-40B4-BE49-F238E27FC236}">
                  <a16:creationId xmlns:a16="http://schemas.microsoft.com/office/drawing/2014/main" id="{1C642A39-4D17-E047-9E26-93E83784D6BA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+mn-ea"/>
                <a:cs typeface="+mn-cs"/>
              </a:endParaRPr>
            </a:p>
          </p:txBody>
        </p:sp>
        <p:sp>
          <p:nvSpPr>
            <p:cNvPr id="156" name="TextBox 26">
              <a:extLst>
                <a:ext uri="{FF2B5EF4-FFF2-40B4-BE49-F238E27FC236}">
                  <a16:creationId xmlns:a16="http://schemas.microsoft.com/office/drawing/2014/main" id="{5BB9D346-D1EB-80DB-454C-B92C794B4BF7}"/>
                </a:ext>
              </a:extLst>
            </p:cNvPr>
            <p:cNvSpPr txBox="1"/>
            <p:nvPr/>
          </p:nvSpPr>
          <p:spPr>
            <a:xfrm>
              <a:off x="76200" y="38100"/>
              <a:ext cx="660400" cy="698500"/>
            </a:xfrm>
            <a:prstGeom prst="rect">
              <a:avLst/>
            </a:prstGeom>
          </p:spPr>
          <p:txBody>
            <a:bodyPr lIns="108373" tIns="108373" rIns="108373" bIns="108373" rtlCol="0" anchor="ctr"/>
            <a:lstStyle>
              <a:defPPr>
                <a:defRPr lang="en-US"/>
              </a:defPPr>
              <a:lvl1pPr marL="0" algn="l" defTabSz="2106778" rtl="0" eaLnBrk="1" latinLnBrk="0" hangingPunct="1">
                <a:defRPr sz="414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053389" algn="l" defTabSz="2106778" rtl="0" eaLnBrk="1" latinLnBrk="0" hangingPunct="1">
                <a:defRPr sz="414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06778" algn="l" defTabSz="2106778" rtl="0" eaLnBrk="1" latinLnBrk="0" hangingPunct="1">
                <a:defRPr sz="414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160166" algn="l" defTabSz="2106778" rtl="0" eaLnBrk="1" latinLnBrk="0" hangingPunct="1">
                <a:defRPr sz="414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213555" algn="l" defTabSz="2106778" rtl="0" eaLnBrk="1" latinLnBrk="0" hangingPunct="1">
                <a:defRPr sz="414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5266944" algn="l" defTabSz="2106778" rtl="0" eaLnBrk="1" latinLnBrk="0" hangingPunct="1">
                <a:defRPr sz="414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6320333" algn="l" defTabSz="2106778" rtl="0" eaLnBrk="1" latinLnBrk="0" hangingPunct="1">
                <a:defRPr sz="414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7373722" algn="l" defTabSz="2106778" rtl="0" eaLnBrk="1" latinLnBrk="0" hangingPunct="1">
                <a:defRPr sz="414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8427110" algn="l" defTabSz="2106778" rtl="0" eaLnBrk="1" latinLnBrk="0" hangingPunct="1">
                <a:defRPr sz="414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106778" rtl="0" eaLnBrk="1" fontAlgn="base" latinLnBrk="0" hangingPunct="1">
                <a:lnSpc>
                  <a:spcPts val="448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sz="884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/>
                <a:ea typeface="+mn-ea"/>
                <a:cs typeface="+mn-cs"/>
              </a:endParaRP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315ADD07-B558-D44A-BF6A-B63D8C9AF94D}"/>
              </a:ext>
            </a:extLst>
          </p:cNvPr>
          <p:cNvGrpSpPr/>
          <p:nvPr/>
        </p:nvGrpSpPr>
        <p:grpSpPr>
          <a:xfrm>
            <a:off x="24149955" y="11600124"/>
            <a:ext cx="7008777" cy="5607379"/>
            <a:chOff x="30142855" y="11476330"/>
            <a:chExt cx="7008777" cy="5607379"/>
          </a:xfrm>
        </p:grpSpPr>
        <p:pic>
          <p:nvPicPr>
            <p:cNvPr id="61" name="Picture 60" descr="A screenshot of a computer&#10;&#10;Description automatically generated">
              <a:extLst>
                <a:ext uri="{FF2B5EF4-FFF2-40B4-BE49-F238E27FC236}">
                  <a16:creationId xmlns:a16="http://schemas.microsoft.com/office/drawing/2014/main" id="{1682523C-E46D-A661-5088-7AF1F3229A3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7"/>
            <a:srcRect t="5550" b="25142"/>
            <a:stretch/>
          </p:blipFill>
          <p:spPr>
            <a:xfrm>
              <a:off x="30490924" y="12377318"/>
              <a:ext cx="2960807" cy="1136481"/>
            </a:xfrm>
            <a:prstGeom prst="rect">
              <a:avLst/>
            </a:prstGeom>
          </p:spPr>
        </p:pic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3A4FBD8D-4425-3E69-A483-513B9AC15B86}"/>
                </a:ext>
              </a:extLst>
            </p:cNvPr>
            <p:cNvSpPr txBox="1"/>
            <p:nvPr/>
          </p:nvSpPr>
          <p:spPr>
            <a:xfrm>
              <a:off x="30263751" y="13997533"/>
              <a:ext cx="6741925" cy="2862322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Forward Alignment:</a:t>
              </a: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Char char="•"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Sequential token mapping from source to target language.</a:t>
              </a: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Char char="•"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Begins at the start of the text, ensuring linear alignment progression.</a:t>
              </a: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Reverse Alignment:</a:t>
              </a: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Char char="•"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Token mapping from target back to source language.</a:t>
              </a: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Char char="•"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Starts from the end, offering a backward analysis perspective.</a:t>
              </a: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3B88E6E1-CBDD-46EB-3ABA-231DE6946433}"/>
                </a:ext>
              </a:extLst>
            </p:cNvPr>
            <p:cNvSpPr/>
            <p:nvPr/>
          </p:nvSpPr>
          <p:spPr bwMode="auto">
            <a:xfrm>
              <a:off x="30142855" y="11476330"/>
              <a:ext cx="7008777" cy="5607379"/>
            </a:xfrm>
            <a:prstGeom prst="rect">
              <a:avLst/>
            </a:prstGeom>
            <a:noFill/>
            <a:ln w="57150">
              <a:solidFill>
                <a:srgbClr val="CFB991"/>
              </a:solidFill>
              <a:prstDash val="lgDash"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+mn-ea"/>
                <a:cs typeface="+mn-cs"/>
              </a:endParaRPr>
            </a:p>
          </p:txBody>
        </p:sp>
        <p:pic>
          <p:nvPicPr>
            <p:cNvPr id="93" name="Picture 92" descr="A screenshot of a computer&#10;&#10;Description automatically generated">
              <a:extLst>
                <a:ext uri="{FF2B5EF4-FFF2-40B4-BE49-F238E27FC236}">
                  <a16:creationId xmlns:a16="http://schemas.microsoft.com/office/drawing/2014/main" id="{3408F4E5-597C-72A1-8785-531E99ADC6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8"/>
            <a:srcRect l="-876" t="3599" r="876" b="22135"/>
            <a:stretch/>
          </p:blipFill>
          <p:spPr>
            <a:xfrm>
              <a:off x="33823542" y="12306094"/>
              <a:ext cx="3044452" cy="1217282"/>
            </a:xfrm>
            <a:prstGeom prst="rect">
              <a:avLst/>
            </a:prstGeom>
          </p:spPr>
        </p:pic>
        <p:sp>
          <p:nvSpPr>
            <p:cNvPr id="53" name="Rectangle: Rounded Corners 73">
              <a:extLst>
                <a:ext uri="{FF2B5EF4-FFF2-40B4-BE49-F238E27FC236}">
                  <a16:creationId xmlns:a16="http://schemas.microsoft.com/office/drawing/2014/main" id="{572595F4-91BF-AF0A-479F-50821E4A25DF}"/>
                </a:ext>
              </a:extLst>
            </p:cNvPr>
            <p:cNvSpPr/>
            <p:nvPr/>
          </p:nvSpPr>
          <p:spPr bwMode="auto">
            <a:xfrm>
              <a:off x="30541220" y="11630232"/>
              <a:ext cx="2779353" cy="428773"/>
            </a:xfrm>
            <a:prstGeom prst="roundRect">
              <a:avLst/>
            </a:prstGeom>
            <a:ln w="19050">
              <a:solidFill>
                <a:srgbClr val="B1810B"/>
              </a:solidFill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en-AU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30477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609539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914309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219078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6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6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6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6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Forward Alignment</a:t>
              </a:r>
            </a:p>
          </p:txBody>
        </p:sp>
        <p:sp>
          <p:nvSpPr>
            <p:cNvPr id="54" name="Rectangle: Rounded Corners 78">
              <a:extLst>
                <a:ext uri="{FF2B5EF4-FFF2-40B4-BE49-F238E27FC236}">
                  <a16:creationId xmlns:a16="http://schemas.microsoft.com/office/drawing/2014/main" id="{346F4FBF-1EBC-6654-1D57-E91FCD3EC236}"/>
                </a:ext>
              </a:extLst>
            </p:cNvPr>
            <p:cNvSpPr/>
            <p:nvPr/>
          </p:nvSpPr>
          <p:spPr bwMode="auto">
            <a:xfrm>
              <a:off x="33451731" y="11620825"/>
              <a:ext cx="2866710" cy="444567"/>
            </a:xfrm>
            <a:prstGeom prst="roundRect">
              <a:avLst/>
            </a:prstGeom>
            <a:ln w="19050">
              <a:solidFill>
                <a:srgbClr val="B1810B"/>
              </a:solidFill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en-AU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30477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609539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914309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219078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6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6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6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6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Reverse Alignment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65" name="TextBox 38">
            <a:extLst>
              <a:ext uri="{FF2B5EF4-FFF2-40B4-BE49-F238E27FC236}">
                <a16:creationId xmlns:a16="http://schemas.microsoft.com/office/drawing/2014/main" id="{5AB25B4C-CC9D-B72E-8F8C-72099EB3BF65}"/>
              </a:ext>
            </a:extLst>
          </p:cNvPr>
          <p:cNvSpPr txBox="1"/>
          <p:nvPr/>
        </p:nvSpPr>
        <p:spPr>
          <a:xfrm>
            <a:off x="23334593" y="19909875"/>
            <a:ext cx="2983991" cy="169277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2106778" rtl="0" eaLnBrk="1" latinLnBrk="0" hangingPunct="1">
              <a:defRPr sz="41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53389" algn="l" defTabSz="2106778" rtl="0" eaLnBrk="1" latinLnBrk="0" hangingPunct="1">
              <a:defRPr sz="41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06778" algn="l" defTabSz="2106778" rtl="0" eaLnBrk="1" latinLnBrk="0" hangingPunct="1">
              <a:defRPr sz="41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160166" algn="l" defTabSz="2106778" rtl="0" eaLnBrk="1" latinLnBrk="0" hangingPunct="1">
              <a:defRPr sz="41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213555" algn="l" defTabSz="2106778" rtl="0" eaLnBrk="1" latinLnBrk="0" hangingPunct="1">
              <a:defRPr sz="41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266944" algn="l" defTabSz="2106778" rtl="0" eaLnBrk="1" latinLnBrk="0" hangingPunct="1">
              <a:defRPr sz="41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320333" algn="l" defTabSz="2106778" rtl="0" eaLnBrk="1" latinLnBrk="0" hangingPunct="1">
              <a:defRPr sz="41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373722" algn="l" defTabSz="2106778" rtl="0" eaLnBrk="1" latinLnBrk="0" hangingPunct="1">
              <a:defRPr sz="41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427110" algn="l" defTabSz="2106778" rtl="0" eaLnBrk="1" latinLnBrk="0" hangingPunct="1">
              <a:defRPr sz="41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en-US" sz="2200" b="1" i="0" u="none" strike="noStrike" kern="1200" cap="none" spc="55" normalizeH="0" baseline="0" noProof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Arial"/>
              </a:rPr>
              <a:t>Initiation:</a:t>
            </a:r>
            <a:br>
              <a:rPr lang="en-US" sz="2200" b="0" i="0" u="none" strike="noStrike" kern="1200" cap="none" spc="55" normalizeH="0" baseline="0" noProof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kumimoji="0" lang="en-US" sz="2200" b="0" i="0" u="none" strike="noStrike" kern="1200" cap="none" spc="55" normalizeH="0" baseline="0" noProof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Arial"/>
              </a:rPr>
              <a:t>Monolingual, </a:t>
            </a:r>
            <a:r>
              <a:rPr lang="en-US" sz="2200" spc="55">
                <a:solidFill>
                  <a:srgbClr val="191919"/>
                </a:solidFill>
                <a:latin typeface="Arial"/>
                <a:ea typeface="Calibri" panose="020F0502020204030204" pitchFamily="34" charset="0"/>
                <a:cs typeface="Arial"/>
              </a:rPr>
              <a:t>Monotonic data</a:t>
            </a:r>
            <a:r>
              <a:rPr kumimoji="0" lang="en-US" sz="2200" b="0" i="0" u="none" strike="noStrike" kern="1200" cap="none" spc="55" normalizeH="0" baseline="0" noProof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Arial"/>
              </a:rPr>
              <a:t> identified. </a:t>
            </a:r>
            <a:r>
              <a:rPr lang="en-US" sz="2200" spc="55">
                <a:solidFill>
                  <a:srgbClr val="191919"/>
                </a:solidFill>
                <a:latin typeface="Arial"/>
                <a:ea typeface="Calibri" panose="020F0502020204030204" pitchFamily="34" charset="0"/>
                <a:cs typeface="Arial"/>
              </a:rPr>
              <a:t>3 </a:t>
            </a:r>
            <a:r>
              <a:rPr kumimoji="0" lang="en-US" sz="2200" b="0" i="0" u="none" strike="noStrike" kern="1200" cap="none" spc="55" normalizeH="0" baseline="0" noProof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Arial"/>
              </a:rPr>
              <a:t>languages picked as sample</a:t>
            </a:r>
          </a:p>
        </p:txBody>
      </p:sp>
      <p:sp>
        <p:nvSpPr>
          <p:cNvPr id="166" name="TextBox 38">
            <a:extLst>
              <a:ext uri="{FF2B5EF4-FFF2-40B4-BE49-F238E27FC236}">
                <a16:creationId xmlns:a16="http://schemas.microsoft.com/office/drawing/2014/main" id="{A3984A44-439A-C1B9-949C-25FCFEBA363A}"/>
              </a:ext>
            </a:extLst>
          </p:cNvPr>
          <p:cNvSpPr txBox="1"/>
          <p:nvPr/>
        </p:nvSpPr>
        <p:spPr>
          <a:xfrm>
            <a:off x="27473128" y="19898116"/>
            <a:ext cx="2983991" cy="169277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2106778" rtl="0" eaLnBrk="1" latinLnBrk="0" hangingPunct="1">
              <a:defRPr sz="41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53389" algn="l" defTabSz="2106778" rtl="0" eaLnBrk="1" latinLnBrk="0" hangingPunct="1">
              <a:defRPr sz="41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06778" algn="l" defTabSz="2106778" rtl="0" eaLnBrk="1" latinLnBrk="0" hangingPunct="1">
              <a:defRPr sz="41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160166" algn="l" defTabSz="2106778" rtl="0" eaLnBrk="1" latinLnBrk="0" hangingPunct="1">
              <a:defRPr sz="41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213555" algn="l" defTabSz="2106778" rtl="0" eaLnBrk="1" latinLnBrk="0" hangingPunct="1">
              <a:defRPr sz="41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266944" algn="l" defTabSz="2106778" rtl="0" eaLnBrk="1" latinLnBrk="0" hangingPunct="1">
              <a:defRPr sz="41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320333" algn="l" defTabSz="2106778" rtl="0" eaLnBrk="1" latinLnBrk="0" hangingPunct="1">
              <a:defRPr sz="41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373722" algn="l" defTabSz="2106778" rtl="0" eaLnBrk="1" latinLnBrk="0" hangingPunct="1">
              <a:defRPr sz="41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427110" algn="l" defTabSz="2106778" rtl="0" eaLnBrk="1" latinLnBrk="0" hangingPunct="1">
              <a:defRPr sz="41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21067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55" normalizeH="0" baseline="0" noProof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lanning:</a:t>
            </a:r>
            <a:br>
              <a:rPr kumimoji="0" lang="en-US" sz="2200" b="0" i="0" u="none" strike="noStrike" kern="1200" cap="none" spc="55" normalizeH="0" baseline="0" noProof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kumimoji="0" lang="en-US" sz="2200" b="0" i="0" u="none" strike="noStrike" kern="1200" cap="none" spc="55" normalizeH="0" baseline="0" noProof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uilt an optimum and scalable architecture for deployment on multiple languages</a:t>
            </a:r>
          </a:p>
        </p:txBody>
      </p:sp>
      <p:grpSp>
        <p:nvGrpSpPr>
          <p:cNvPr id="170" name="Group 24">
            <a:extLst>
              <a:ext uri="{FF2B5EF4-FFF2-40B4-BE49-F238E27FC236}">
                <a16:creationId xmlns:a16="http://schemas.microsoft.com/office/drawing/2014/main" id="{DB94E901-B368-943E-6671-D0514A5ADE34}"/>
              </a:ext>
            </a:extLst>
          </p:cNvPr>
          <p:cNvGrpSpPr/>
          <p:nvPr/>
        </p:nvGrpSpPr>
        <p:grpSpPr>
          <a:xfrm>
            <a:off x="41058659" y="18122019"/>
            <a:ext cx="1399032" cy="1417320"/>
            <a:chOff x="0" y="0"/>
            <a:chExt cx="812800" cy="812800"/>
          </a:xfrm>
        </p:grpSpPr>
        <p:sp>
          <p:nvSpPr>
            <p:cNvPr id="171" name="Freeform 25">
              <a:extLst>
                <a:ext uri="{FF2B5EF4-FFF2-40B4-BE49-F238E27FC236}">
                  <a16:creationId xmlns:a16="http://schemas.microsoft.com/office/drawing/2014/main" id="{78DD502A-31FE-CABB-056F-0AA8B1AE02A0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B1810B"/>
            </a:solidFill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+mn-ea"/>
                <a:cs typeface="+mn-cs"/>
              </a:endParaRPr>
            </a:p>
          </p:txBody>
        </p:sp>
        <p:sp>
          <p:nvSpPr>
            <p:cNvPr id="172" name="TextBox 26">
              <a:extLst>
                <a:ext uri="{FF2B5EF4-FFF2-40B4-BE49-F238E27FC236}">
                  <a16:creationId xmlns:a16="http://schemas.microsoft.com/office/drawing/2014/main" id="{A027E03B-C532-B79B-14E6-BD510836D691}"/>
                </a:ext>
              </a:extLst>
            </p:cNvPr>
            <p:cNvSpPr txBox="1"/>
            <p:nvPr/>
          </p:nvSpPr>
          <p:spPr>
            <a:xfrm>
              <a:off x="76200" y="38100"/>
              <a:ext cx="660400" cy="698500"/>
            </a:xfrm>
            <a:prstGeom prst="rect">
              <a:avLst/>
            </a:prstGeom>
          </p:spPr>
          <p:txBody>
            <a:bodyPr lIns="108373" tIns="108373" rIns="108373" bIns="108373" rtlCol="0" anchor="ctr"/>
            <a:lstStyle>
              <a:defPPr>
                <a:defRPr lang="en-US"/>
              </a:defPPr>
              <a:lvl1pPr marL="0" algn="l" defTabSz="2106778" rtl="0" eaLnBrk="1" latinLnBrk="0" hangingPunct="1">
                <a:defRPr sz="414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053389" algn="l" defTabSz="2106778" rtl="0" eaLnBrk="1" latinLnBrk="0" hangingPunct="1">
                <a:defRPr sz="414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06778" algn="l" defTabSz="2106778" rtl="0" eaLnBrk="1" latinLnBrk="0" hangingPunct="1">
                <a:defRPr sz="414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160166" algn="l" defTabSz="2106778" rtl="0" eaLnBrk="1" latinLnBrk="0" hangingPunct="1">
                <a:defRPr sz="414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213555" algn="l" defTabSz="2106778" rtl="0" eaLnBrk="1" latinLnBrk="0" hangingPunct="1">
                <a:defRPr sz="414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5266944" algn="l" defTabSz="2106778" rtl="0" eaLnBrk="1" latinLnBrk="0" hangingPunct="1">
                <a:defRPr sz="414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6320333" algn="l" defTabSz="2106778" rtl="0" eaLnBrk="1" latinLnBrk="0" hangingPunct="1">
                <a:defRPr sz="414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7373722" algn="l" defTabSz="2106778" rtl="0" eaLnBrk="1" latinLnBrk="0" hangingPunct="1">
                <a:defRPr sz="414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8427110" algn="l" defTabSz="2106778" rtl="0" eaLnBrk="1" latinLnBrk="0" hangingPunct="1">
                <a:defRPr sz="414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106778" rtl="0" eaLnBrk="1" fontAlgn="base" latinLnBrk="0" hangingPunct="1">
                <a:lnSpc>
                  <a:spcPts val="448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sz="884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/>
                <a:ea typeface="+mn-ea"/>
                <a:cs typeface="+mn-cs"/>
              </a:endParaRPr>
            </a:p>
          </p:txBody>
        </p:sp>
      </p:grpSp>
      <p:sp>
        <p:nvSpPr>
          <p:cNvPr id="175" name="TextBox 38">
            <a:extLst>
              <a:ext uri="{FF2B5EF4-FFF2-40B4-BE49-F238E27FC236}">
                <a16:creationId xmlns:a16="http://schemas.microsoft.com/office/drawing/2014/main" id="{D3F82A84-21D5-03F7-1056-2F373D27EACB}"/>
              </a:ext>
            </a:extLst>
          </p:cNvPr>
          <p:cNvSpPr txBox="1"/>
          <p:nvPr/>
        </p:nvSpPr>
        <p:spPr>
          <a:xfrm>
            <a:off x="31427449" y="19767483"/>
            <a:ext cx="3501113" cy="169277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2106778" rtl="0" eaLnBrk="1" latinLnBrk="0" hangingPunct="1">
              <a:defRPr sz="41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53389" algn="l" defTabSz="2106778" rtl="0" eaLnBrk="1" latinLnBrk="0" hangingPunct="1">
              <a:defRPr sz="41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06778" algn="l" defTabSz="2106778" rtl="0" eaLnBrk="1" latinLnBrk="0" hangingPunct="1">
              <a:defRPr sz="41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160166" algn="l" defTabSz="2106778" rtl="0" eaLnBrk="1" latinLnBrk="0" hangingPunct="1">
              <a:defRPr sz="41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213555" algn="l" defTabSz="2106778" rtl="0" eaLnBrk="1" latinLnBrk="0" hangingPunct="1">
              <a:defRPr sz="41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266944" algn="l" defTabSz="2106778" rtl="0" eaLnBrk="1" latinLnBrk="0" hangingPunct="1">
              <a:defRPr sz="41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320333" algn="l" defTabSz="2106778" rtl="0" eaLnBrk="1" latinLnBrk="0" hangingPunct="1">
              <a:defRPr sz="41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373722" algn="l" defTabSz="2106778" rtl="0" eaLnBrk="1" latinLnBrk="0" hangingPunct="1">
              <a:defRPr sz="41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427110" algn="l" defTabSz="2106778" rtl="0" eaLnBrk="1" latinLnBrk="0" hangingPunct="1">
              <a:defRPr sz="41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21067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55" normalizeH="0" baseline="0" noProof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xecuting:</a:t>
            </a:r>
            <a:br>
              <a:rPr kumimoji="0" lang="en-US" sz="2200" b="0" i="0" u="none" strike="noStrike" kern="1200" cap="none" spc="55" normalizeH="0" baseline="0" noProof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kumimoji="0" lang="en-US" sz="2200" b="1" i="0" u="none" strike="noStrike" kern="1200" cap="none" spc="55" normalizeH="0" baseline="0" noProof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urrent stage</a:t>
            </a:r>
            <a:r>
              <a:rPr lang="en-US" sz="2200" spc="55">
                <a:solidFill>
                  <a:srgbClr val="19191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</a:t>
            </a:r>
            <a:r>
              <a:rPr kumimoji="0" lang="en-US" sz="2200" b="0" i="0" u="none" strike="noStrike" kern="1200" cap="none" spc="55" normalizeH="0" baseline="0" noProof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fine tuning our model and increasing the number of iterations to improve model quality</a:t>
            </a:r>
          </a:p>
        </p:txBody>
      </p:sp>
      <p:sp>
        <p:nvSpPr>
          <p:cNvPr id="176" name="TextBox 38">
            <a:extLst>
              <a:ext uri="{FF2B5EF4-FFF2-40B4-BE49-F238E27FC236}">
                <a16:creationId xmlns:a16="http://schemas.microsoft.com/office/drawing/2014/main" id="{CE075616-EF3F-C9BF-BCC5-3D3A6A2955BB}"/>
              </a:ext>
            </a:extLst>
          </p:cNvPr>
          <p:cNvSpPr txBox="1"/>
          <p:nvPr/>
        </p:nvSpPr>
        <p:spPr>
          <a:xfrm>
            <a:off x="39699945" y="19748226"/>
            <a:ext cx="4116455" cy="203132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2106778" rtl="0" eaLnBrk="1" latinLnBrk="0" hangingPunct="1">
              <a:defRPr sz="41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53389" algn="l" defTabSz="2106778" rtl="0" eaLnBrk="1" latinLnBrk="0" hangingPunct="1">
              <a:defRPr sz="41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06778" algn="l" defTabSz="2106778" rtl="0" eaLnBrk="1" latinLnBrk="0" hangingPunct="1">
              <a:defRPr sz="41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160166" algn="l" defTabSz="2106778" rtl="0" eaLnBrk="1" latinLnBrk="0" hangingPunct="1">
              <a:defRPr sz="41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213555" algn="l" defTabSz="2106778" rtl="0" eaLnBrk="1" latinLnBrk="0" hangingPunct="1">
              <a:defRPr sz="41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266944" algn="l" defTabSz="2106778" rtl="0" eaLnBrk="1" latinLnBrk="0" hangingPunct="1">
              <a:defRPr sz="41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320333" algn="l" defTabSz="2106778" rtl="0" eaLnBrk="1" latinLnBrk="0" hangingPunct="1">
              <a:defRPr sz="41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373722" algn="l" defTabSz="2106778" rtl="0" eaLnBrk="1" latinLnBrk="0" hangingPunct="1">
              <a:defRPr sz="41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427110" algn="l" defTabSz="2106778" rtl="0" eaLnBrk="1" latinLnBrk="0" hangingPunct="1">
              <a:defRPr sz="41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21067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55" normalizeH="0" baseline="0" noProof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Arial"/>
              </a:rPr>
              <a:t>Future Scope:</a:t>
            </a:r>
          </a:p>
          <a:p>
            <a:pPr algn="ctr">
              <a:defRPr/>
            </a:pPr>
            <a:r>
              <a:rPr lang="en-US" sz="2200" spc="55">
                <a:solidFill>
                  <a:srgbClr val="191919"/>
                </a:solidFill>
                <a:latin typeface="Arial"/>
                <a:ea typeface="Calibri" panose="020F0502020204030204" pitchFamily="34" charset="0"/>
                <a:cs typeface="Arial"/>
              </a:rPr>
              <a:t>Expand to include non monotonic, cross-lingual and real-world </a:t>
            </a:r>
            <a:r>
              <a:rPr kumimoji="0" lang="en-US" sz="2200" b="0" i="0" u="none" strike="noStrike" kern="1200" cap="none" spc="55" normalizeH="0" baseline="0" noProof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Arial"/>
              </a:rPr>
              <a:t>application - educational videos and explore multimedia industry</a:t>
            </a:r>
            <a:endParaRPr lang="en-US" sz="2200" b="0" i="0" u="none" strike="noStrike" kern="1200" cap="none" spc="55" normalizeH="0" baseline="0" noProof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Arial"/>
              <a:ea typeface="Calibri" panose="020F0502020204030204" pitchFamily="34" charset="0"/>
              <a:cs typeface="Arial"/>
            </a:endParaRPr>
          </a:p>
        </p:txBody>
      </p:sp>
      <p:sp>
        <p:nvSpPr>
          <p:cNvPr id="177" name="TextBox 38">
            <a:extLst>
              <a:ext uri="{FF2B5EF4-FFF2-40B4-BE49-F238E27FC236}">
                <a16:creationId xmlns:a16="http://schemas.microsoft.com/office/drawing/2014/main" id="{ABD13F2A-9D58-5E2F-4D73-F4229F7B65F2}"/>
              </a:ext>
            </a:extLst>
          </p:cNvPr>
          <p:cNvSpPr txBox="1"/>
          <p:nvPr/>
        </p:nvSpPr>
        <p:spPr>
          <a:xfrm>
            <a:off x="35820412" y="19772607"/>
            <a:ext cx="3473975" cy="203132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2106778" rtl="0" eaLnBrk="1" latinLnBrk="0" hangingPunct="1">
              <a:defRPr sz="41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53389" algn="l" defTabSz="2106778" rtl="0" eaLnBrk="1" latinLnBrk="0" hangingPunct="1">
              <a:defRPr sz="41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06778" algn="l" defTabSz="2106778" rtl="0" eaLnBrk="1" latinLnBrk="0" hangingPunct="1">
              <a:defRPr sz="41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160166" algn="l" defTabSz="2106778" rtl="0" eaLnBrk="1" latinLnBrk="0" hangingPunct="1">
              <a:defRPr sz="41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213555" algn="l" defTabSz="2106778" rtl="0" eaLnBrk="1" latinLnBrk="0" hangingPunct="1">
              <a:defRPr sz="41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266944" algn="l" defTabSz="2106778" rtl="0" eaLnBrk="1" latinLnBrk="0" hangingPunct="1">
              <a:defRPr sz="41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320333" algn="l" defTabSz="2106778" rtl="0" eaLnBrk="1" latinLnBrk="0" hangingPunct="1">
              <a:defRPr sz="41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373722" algn="l" defTabSz="2106778" rtl="0" eaLnBrk="1" latinLnBrk="0" hangingPunct="1">
              <a:defRPr sz="41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427110" algn="l" defTabSz="2106778" rtl="0" eaLnBrk="1" latinLnBrk="0" hangingPunct="1">
              <a:defRPr sz="41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21067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55" normalizeH="0" baseline="0" noProof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onitoring:</a:t>
            </a:r>
            <a:br>
              <a:rPr kumimoji="0" lang="en-US" sz="2200" b="0" i="0" u="none" strike="noStrike" kern="1200" cap="none" spc="55" normalizeH="0" baseline="0" noProof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kumimoji="0" lang="en-US" sz="2200" b="0" i="0" u="none" strike="noStrike" kern="1200" cap="none" spc="55" normalizeH="0" baseline="0" noProof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ntinuously monitor model performance for anomalies during implementation. Training documentation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65B7C2EE-9535-4802-64A0-004FF02D1679}"/>
              </a:ext>
            </a:extLst>
          </p:cNvPr>
          <p:cNvSpPr txBox="1"/>
          <p:nvPr/>
        </p:nvSpPr>
        <p:spPr>
          <a:xfrm>
            <a:off x="31461731" y="15360893"/>
            <a:ext cx="4575505" cy="163121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2900" marR="0" lvl="1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Utilizes statistical data to predict token alignments.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 </a:t>
            </a:r>
          </a:p>
          <a:p>
            <a:pPr marL="342900" marR="0" lvl="1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Priors act as a reference guide, enhancing alignment accuracy by leveraging historical data.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Calibri"/>
              <a:cs typeface="Arial" panose="020B0604020202020204" pitchFamily="34" charset="0"/>
            </a:endParaRPr>
          </a:p>
        </p:txBody>
      </p:sp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A7F3343E-142A-C776-99F5-15A642E8C3C1}"/>
              </a:ext>
            </a:extLst>
          </p:cNvPr>
          <p:cNvSpPr/>
          <p:nvPr/>
        </p:nvSpPr>
        <p:spPr bwMode="auto">
          <a:xfrm>
            <a:off x="32761259" y="11706753"/>
            <a:ext cx="2554163" cy="482700"/>
          </a:xfrm>
          <a:prstGeom prst="roundRect">
            <a:avLst/>
          </a:prstGeom>
          <a:ln w="19050">
            <a:solidFill>
              <a:srgbClr val="B1810B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en-A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30477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609539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914309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219078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Generating Prior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Calibri"/>
              <a:cs typeface="Arial" panose="020B0604020202020204" pitchFamily="34" charset="0"/>
            </a:endParaRPr>
          </a:p>
        </p:txBody>
      </p:sp>
      <p:pic>
        <p:nvPicPr>
          <p:cNvPr id="174" name="Picture 173" descr="A screenshot of a computer code&#10;&#10;Description automatically generated">
            <a:extLst>
              <a:ext uri="{FF2B5EF4-FFF2-40B4-BE49-F238E27FC236}">
                <a16:creationId xmlns:a16="http://schemas.microsoft.com/office/drawing/2014/main" id="{01D7BA17-B508-767D-28CF-2FEF29926EE2}"/>
              </a:ext>
            </a:extLst>
          </p:cNvPr>
          <p:cNvPicPr>
            <a:picLocks noChangeAspect="1"/>
          </p:cNvPicPr>
          <p:nvPr/>
        </p:nvPicPr>
        <p:blipFill rotWithShape="1"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6" t="1402" r="36939" b="63221"/>
          <a:stretch/>
        </p:blipFill>
        <p:spPr>
          <a:xfrm>
            <a:off x="32254599" y="12272154"/>
            <a:ext cx="3782637" cy="3012400"/>
          </a:xfrm>
          <a:prstGeom prst="rect">
            <a:avLst/>
          </a:prstGeom>
        </p:spPr>
      </p:pic>
      <p:sp>
        <p:nvSpPr>
          <p:cNvPr id="56" name="Rectangle 55">
            <a:extLst>
              <a:ext uri="{FF2B5EF4-FFF2-40B4-BE49-F238E27FC236}">
                <a16:creationId xmlns:a16="http://schemas.microsoft.com/office/drawing/2014/main" id="{4A309222-465D-E30B-1C90-C797E0FA2D05}"/>
              </a:ext>
            </a:extLst>
          </p:cNvPr>
          <p:cNvSpPr/>
          <p:nvPr/>
        </p:nvSpPr>
        <p:spPr bwMode="auto">
          <a:xfrm>
            <a:off x="31461731" y="11610532"/>
            <a:ext cx="4894136" cy="5591651"/>
          </a:xfrm>
          <a:prstGeom prst="rect">
            <a:avLst/>
          </a:prstGeom>
          <a:noFill/>
          <a:ln w="57150">
            <a:solidFill>
              <a:srgbClr val="CFB991"/>
            </a:solidFill>
            <a:prstDash val="lgDash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+mn-ea"/>
              <a:cs typeface="+mn-cs"/>
            </a:endParaRPr>
          </a:p>
        </p:txBody>
      </p:sp>
      <p:cxnSp>
        <p:nvCxnSpPr>
          <p:cNvPr id="178" name="Straight Arrow Connector 177">
            <a:extLst>
              <a:ext uri="{FF2B5EF4-FFF2-40B4-BE49-F238E27FC236}">
                <a16:creationId xmlns:a16="http://schemas.microsoft.com/office/drawing/2014/main" id="{39AEEFC1-3C18-2F6F-5960-E03DC41479E6}"/>
              </a:ext>
            </a:extLst>
          </p:cNvPr>
          <p:cNvCxnSpPr>
            <a:cxnSpLocks/>
          </p:cNvCxnSpPr>
          <p:nvPr/>
        </p:nvCxnSpPr>
        <p:spPr bwMode="auto">
          <a:xfrm>
            <a:off x="25410171" y="18760090"/>
            <a:ext cx="2836800" cy="0"/>
          </a:xfrm>
          <a:prstGeom prst="straightConnector1">
            <a:avLst/>
          </a:prstGeom>
          <a:ln w="76200">
            <a:solidFill>
              <a:srgbClr val="B1810B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Straight Arrow Connector 179">
            <a:extLst>
              <a:ext uri="{FF2B5EF4-FFF2-40B4-BE49-F238E27FC236}">
                <a16:creationId xmlns:a16="http://schemas.microsoft.com/office/drawing/2014/main" id="{E00B5E52-45A8-BB65-54E2-2975C64C9B24}"/>
              </a:ext>
            </a:extLst>
          </p:cNvPr>
          <p:cNvCxnSpPr>
            <a:cxnSpLocks/>
          </p:cNvCxnSpPr>
          <p:nvPr/>
        </p:nvCxnSpPr>
        <p:spPr bwMode="auto">
          <a:xfrm>
            <a:off x="29677371" y="18760090"/>
            <a:ext cx="2836800" cy="0"/>
          </a:xfrm>
          <a:prstGeom prst="straightConnector1">
            <a:avLst/>
          </a:prstGeom>
          <a:ln w="76200">
            <a:solidFill>
              <a:srgbClr val="B1810B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Straight Arrow Connector 182">
            <a:extLst>
              <a:ext uri="{FF2B5EF4-FFF2-40B4-BE49-F238E27FC236}">
                <a16:creationId xmlns:a16="http://schemas.microsoft.com/office/drawing/2014/main" id="{F1D4B406-B7BB-AE38-03D9-F18AB5C5FA75}"/>
              </a:ext>
            </a:extLst>
          </p:cNvPr>
          <p:cNvCxnSpPr>
            <a:cxnSpLocks/>
          </p:cNvCxnSpPr>
          <p:nvPr/>
        </p:nvCxnSpPr>
        <p:spPr bwMode="auto">
          <a:xfrm flipV="1">
            <a:off x="33903009" y="18758557"/>
            <a:ext cx="2836800" cy="1533"/>
          </a:xfrm>
          <a:prstGeom prst="straightConnector1">
            <a:avLst/>
          </a:prstGeom>
          <a:ln w="76200">
            <a:solidFill>
              <a:srgbClr val="B1810B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Straight Arrow Connector 183">
            <a:extLst>
              <a:ext uri="{FF2B5EF4-FFF2-40B4-BE49-F238E27FC236}">
                <a16:creationId xmlns:a16="http://schemas.microsoft.com/office/drawing/2014/main" id="{1B4FD32F-4102-99CE-0503-BCFFAB8F483A}"/>
              </a:ext>
            </a:extLst>
          </p:cNvPr>
          <p:cNvCxnSpPr>
            <a:cxnSpLocks/>
          </p:cNvCxnSpPr>
          <p:nvPr/>
        </p:nvCxnSpPr>
        <p:spPr bwMode="auto">
          <a:xfrm flipV="1">
            <a:off x="38250960" y="18758557"/>
            <a:ext cx="2836800" cy="1533"/>
          </a:xfrm>
          <a:prstGeom prst="straightConnector1">
            <a:avLst/>
          </a:prstGeom>
          <a:ln w="76200">
            <a:solidFill>
              <a:srgbClr val="B1810B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>
            <a:extLst>
              <a:ext uri="{FF2B5EF4-FFF2-40B4-BE49-F238E27FC236}">
                <a16:creationId xmlns:a16="http://schemas.microsoft.com/office/drawing/2014/main" id="{F3B5544D-FB82-15DD-3ACF-6E5ADA449541}"/>
              </a:ext>
            </a:extLst>
          </p:cNvPr>
          <p:cNvSpPr txBox="1"/>
          <p:nvPr/>
        </p:nvSpPr>
        <p:spPr>
          <a:xfrm>
            <a:off x="15907909" y="11860994"/>
            <a:ext cx="6968174" cy="110799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just">
              <a:defRPr/>
            </a:pPr>
            <a:r>
              <a:rPr lang="en-US" sz="2200">
                <a:solidFill>
                  <a:srgbClr val="0D0D0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duce </a:t>
            </a: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ilences </a:t>
            </a:r>
            <a:r>
              <a:rPr lang="en-US" sz="2200">
                <a:solidFill>
                  <a:srgbClr val="0D0D0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</a:t>
            </a: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random parts of audio files, </a:t>
            </a:r>
            <a:r>
              <a:rPr lang="en-US" sz="2200">
                <a:solidFill>
                  <a:srgbClr val="0D0D0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tched </a:t>
            </a: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with gaps in </a:t>
            </a:r>
            <a:r>
              <a:rPr lang="en-US" sz="2200">
                <a:solidFill>
                  <a:srgbClr val="0D0D0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cript </a:t>
            </a: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2200">
                <a:solidFill>
                  <a:srgbClr val="0D0D0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st performance  w/real world data</a:t>
            </a: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A68AC5B8-7E22-588B-D4FC-7A8A93207420}"/>
              </a:ext>
            </a:extLst>
          </p:cNvPr>
          <p:cNvSpPr txBox="1"/>
          <p:nvPr/>
        </p:nvSpPr>
        <p:spPr>
          <a:xfrm>
            <a:off x="12068015" y="14247550"/>
            <a:ext cx="10834007" cy="144655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e model advances with audio tokenization, employing Wave2vec2/Soundstream to produce phonemes using the processed audio in the previous step, which are then transformed into textual transcriptions. SentencePiece processes these transcriptions to generate text tokens.</a:t>
            </a:r>
            <a:r>
              <a:rPr lang="en-US" sz="2200">
                <a:solidFill>
                  <a:srgbClr val="0D0D0D"/>
                </a:solidFill>
                <a:latin typeface="Arial"/>
                <a:cs typeface="Arial"/>
              </a:rPr>
              <a:t> </a:t>
            </a:r>
            <a:endParaRPr lang="en-US" sz="2200" b="0" i="0" u="none" strike="noStrike" kern="1200" cap="none" spc="0" normalizeH="0" baseline="0" noProof="0">
              <a:ln>
                <a:noFill/>
              </a:ln>
              <a:solidFill>
                <a:srgbClr val="0D0D0D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3A178FE0-806C-DF48-F0FB-94A41174BFFE}"/>
              </a:ext>
            </a:extLst>
          </p:cNvPr>
          <p:cNvSpPr txBox="1"/>
          <p:nvPr/>
        </p:nvSpPr>
        <p:spPr>
          <a:xfrm>
            <a:off x="731625" y="11969535"/>
            <a:ext cx="10714147" cy="790537"/>
          </a:xfrm>
          <a:prstGeom prst="rect">
            <a:avLst/>
          </a:prstGeom>
          <a:noFill/>
          <a:ln w="19050">
            <a:solidFill>
              <a:srgbClr val="B1810B"/>
            </a:solidFill>
          </a:ln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w</a:t>
            </a: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, the critical question we're exploring is: how much data is needed to teach this system effectively across languages that may share few similarities?</a:t>
            </a:r>
            <a:endParaRPr kumimoji="0" lang="en-US" sz="2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id="{7C5A7DE1-ABE4-F352-56C5-60EDA25E15DC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24118110" y="18264844"/>
            <a:ext cx="1133211" cy="1133211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698A98A0-83A4-BB93-1F61-FD62FCBA9270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28603885" y="18351860"/>
            <a:ext cx="830392" cy="830392"/>
          </a:xfrm>
          <a:prstGeom prst="rect">
            <a:avLst/>
          </a:prstGeom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id="{9202C0CC-4D07-AE0A-929F-82556F8D9DB9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32768872" y="18348733"/>
            <a:ext cx="882962" cy="882962"/>
          </a:xfrm>
          <a:prstGeom prst="rect">
            <a:avLst/>
          </a:prstGeom>
        </p:spPr>
      </p:pic>
      <p:pic>
        <p:nvPicPr>
          <p:cNvPr id="66" name="Picture 65">
            <a:extLst>
              <a:ext uri="{FF2B5EF4-FFF2-40B4-BE49-F238E27FC236}">
                <a16:creationId xmlns:a16="http://schemas.microsoft.com/office/drawing/2014/main" id="{17E05291-5DC2-6CF6-BEEA-D26A02827454}"/>
              </a:ext>
            </a:extLst>
          </p:cNvPr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37005676" y="18325486"/>
            <a:ext cx="951119" cy="951119"/>
          </a:xfrm>
          <a:prstGeom prst="rect">
            <a:avLst/>
          </a:prstGeom>
        </p:spPr>
      </p:pic>
      <p:pic>
        <p:nvPicPr>
          <p:cNvPr id="70" name="Picture 69">
            <a:extLst>
              <a:ext uri="{FF2B5EF4-FFF2-40B4-BE49-F238E27FC236}">
                <a16:creationId xmlns:a16="http://schemas.microsoft.com/office/drawing/2014/main" id="{24AC0EB4-4F71-7ADF-D91A-D9095CBAC5D2}"/>
              </a:ext>
            </a:extLst>
          </p:cNvPr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41324746" y="18325486"/>
            <a:ext cx="942207" cy="942207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74CC8DB7-C0C7-B860-1152-0282600B4FBA}"/>
              </a:ext>
            </a:extLst>
          </p:cNvPr>
          <p:cNvGrpSpPr/>
          <p:nvPr/>
        </p:nvGrpSpPr>
        <p:grpSpPr>
          <a:xfrm>
            <a:off x="6825813" y="7729644"/>
            <a:ext cx="4461066" cy="4008292"/>
            <a:chOff x="6825813" y="7289877"/>
            <a:chExt cx="4950500" cy="4448046"/>
          </a:xfrm>
        </p:grpSpPr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BFDACE25-1E75-2514-B5C8-CF6218BCD969}"/>
                </a:ext>
              </a:extLst>
            </p:cNvPr>
            <p:cNvSpPr/>
            <p:nvPr/>
          </p:nvSpPr>
          <p:spPr>
            <a:xfrm>
              <a:off x="6825813" y="11399369"/>
              <a:ext cx="4950500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  <a:t>Image generated from Dall-e</a:t>
              </a:r>
            </a:p>
          </p:txBody>
        </p:sp>
        <p:pic>
          <p:nvPicPr>
            <p:cNvPr id="7" name="Picture 6" descr="A phone and headphones with a speaker&#10;&#10;Description automatically generated">
              <a:extLst>
                <a:ext uri="{FF2B5EF4-FFF2-40B4-BE49-F238E27FC236}">
                  <a16:creationId xmlns:a16="http://schemas.microsoft.com/office/drawing/2014/main" id="{2F2BC7BE-6260-17AF-B744-64CF0D3F4376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60125" y="7289877"/>
              <a:ext cx="4086318" cy="4086318"/>
            </a:xfrm>
            <a:prstGeom prst="rect">
              <a:avLst/>
            </a:prstGeom>
          </p:spPr>
        </p:pic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2CBEFD4E-E5B1-C1B4-EE3B-FB9631798612}"/>
              </a:ext>
            </a:extLst>
          </p:cNvPr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1162397" y="5558397"/>
            <a:ext cx="9461986" cy="679485"/>
          </a:xfrm>
          <a:prstGeom prst="rect">
            <a:avLst/>
          </a:prstGeom>
          <a:ln w="19050">
            <a:solidFill>
              <a:schemeClr val="accent1"/>
            </a:solidFill>
          </a:ln>
        </p:spPr>
      </p:pic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2743614B-A5F7-2BDA-5BEA-4A02C13231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3395555"/>
              </p:ext>
            </p:extLst>
          </p:nvPr>
        </p:nvGraphicFramePr>
        <p:xfrm>
          <a:off x="12402354" y="19704093"/>
          <a:ext cx="5696448" cy="15879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256732">
                  <a:extLst>
                    <a:ext uri="{9D8B030D-6E8A-4147-A177-3AD203B41FA5}">
                      <a16:colId xmlns:a16="http://schemas.microsoft.com/office/drawing/2014/main" val="3214707389"/>
                    </a:ext>
                  </a:extLst>
                </a:gridCol>
                <a:gridCol w="1258022">
                  <a:extLst>
                    <a:ext uri="{9D8B030D-6E8A-4147-A177-3AD203B41FA5}">
                      <a16:colId xmlns:a16="http://schemas.microsoft.com/office/drawing/2014/main" val="3512318050"/>
                    </a:ext>
                  </a:extLst>
                </a:gridCol>
                <a:gridCol w="1147410">
                  <a:extLst>
                    <a:ext uri="{9D8B030D-6E8A-4147-A177-3AD203B41FA5}">
                      <a16:colId xmlns:a16="http://schemas.microsoft.com/office/drawing/2014/main" val="2669326644"/>
                    </a:ext>
                  </a:extLst>
                </a:gridCol>
                <a:gridCol w="1034284">
                  <a:extLst>
                    <a:ext uri="{9D8B030D-6E8A-4147-A177-3AD203B41FA5}">
                      <a16:colId xmlns:a16="http://schemas.microsoft.com/office/drawing/2014/main" val="428358927"/>
                    </a:ext>
                  </a:extLst>
                </a:gridCol>
              </a:tblGrid>
              <a:tr h="52932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1" i="0" u="none" strike="noStrike">
                          <a:solidFill>
                            <a:srgbClr val="1F2328"/>
                          </a:solidFill>
                          <a:effectLst/>
                          <a:latin typeface="Segoe UI" panose="020B0502040204020203" pitchFamily="34" charset="0"/>
                        </a:rPr>
                        <a:t>Model</a:t>
                      </a:r>
                    </a:p>
                  </a:txBody>
                  <a:tcPr marL="7854" marR="7854" marT="785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C69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Trained model</a:t>
                      </a:r>
                      <a:endParaRPr lang="en-US" sz="1600" b="1" i="0" u="none" strike="noStrike">
                        <a:solidFill>
                          <a:srgbClr val="1F2328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7854" marR="7854" marT="785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C69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Sample </a:t>
                      </a:r>
                      <a:r>
                        <a:rPr lang="en-US" sz="1600" u="none" strike="noStrike" err="1">
                          <a:effectLst/>
                        </a:rPr>
                        <a:t>Lanugage</a:t>
                      </a:r>
                      <a:endParaRPr lang="en-US" sz="1600" b="1" i="0" u="none" strike="noStrike">
                        <a:solidFill>
                          <a:srgbClr val="1F2328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7854" marR="7854" marT="785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C69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Duration</a:t>
                      </a:r>
                      <a:endParaRPr lang="en-US" sz="1600" b="1" i="0" u="none" strike="noStrike">
                        <a:solidFill>
                          <a:srgbClr val="1F2328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7854" marR="7854" marT="785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C6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9796851"/>
                  </a:ext>
                </a:extLst>
              </a:tr>
              <a:tr h="26466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Wav2Vec 2.0 Base</a:t>
                      </a:r>
                      <a:endParaRPr lang="en-US" sz="1600" b="0" i="0" u="none" strike="noStrike">
                        <a:solidFill>
                          <a:srgbClr val="1F2328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70686" marR="7854" marT="785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C69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XLSR-53</a:t>
                      </a:r>
                      <a:endParaRPr lang="en-US" sz="1600" b="0" i="0" u="none" strike="noStrike">
                        <a:solidFill>
                          <a:srgbClr val="1F2328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7854" marR="7854" marT="785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C69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English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54" marR="7854" marT="785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C69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70 </a:t>
                      </a:r>
                      <a:r>
                        <a:rPr lang="en-US" sz="1400" u="none" strike="noStrike" err="1">
                          <a:effectLst/>
                        </a:rPr>
                        <a:t>hr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54" marR="7854" marT="785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C6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4514172"/>
                  </a:ext>
                </a:extLst>
              </a:tr>
              <a:tr h="26466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Wav2Vec 2.0 Large </a:t>
                      </a:r>
                      <a:endParaRPr lang="en-US" sz="1600" b="0" i="0" u="none" strike="noStrike">
                        <a:solidFill>
                          <a:srgbClr val="1F2328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70686" marR="7854" marT="785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C69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XLSR-53</a:t>
                      </a:r>
                      <a:endParaRPr lang="en-US" sz="1600" b="0" i="0" u="none" strike="noStrike">
                        <a:solidFill>
                          <a:srgbClr val="1F2328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7854" marR="7854" marT="785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C69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English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54" marR="7854" marT="785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C69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70 hr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54" marR="7854" marT="785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C6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4586445"/>
                  </a:ext>
                </a:extLst>
              </a:tr>
              <a:tr h="26466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Wav2Vec 2.0 Large </a:t>
                      </a:r>
                      <a:endParaRPr lang="en-US" sz="1600" b="0" i="0" u="none" strike="noStrike">
                        <a:solidFill>
                          <a:srgbClr val="1F2328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70686" marR="7854" marT="785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C69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LV-60</a:t>
                      </a:r>
                      <a:endParaRPr lang="en-US" sz="1600" b="0" i="0" u="none" strike="noStrike">
                        <a:solidFill>
                          <a:srgbClr val="1F2328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7854" marR="7854" marT="785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C69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Hindi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54" marR="7854" marT="785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C69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21 </a:t>
                      </a:r>
                      <a:r>
                        <a:rPr lang="en-US" sz="1400" u="none" strike="noStrike" err="1">
                          <a:effectLst/>
                        </a:rPr>
                        <a:t>hr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54" marR="7854" marT="785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C6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3889890"/>
                  </a:ext>
                </a:extLst>
              </a:tr>
              <a:tr h="26466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Wav2Vec 2.0 Large </a:t>
                      </a:r>
                      <a:endParaRPr lang="en-US" sz="1600" b="0" i="0" u="none" strike="noStrike">
                        <a:solidFill>
                          <a:srgbClr val="1F2328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70686" marR="7854" marT="785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C69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LV-60</a:t>
                      </a:r>
                      <a:endParaRPr lang="en-US" sz="1600" b="0" i="0" u="none" strike="noStrike">
                        <a:solidFill>
                          <a:srgbClr val="1F2328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7854" marR="7854" marT="785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C69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rench</a:t>
                      </a:r>
                    </a:p>
                  </a:txBody>
                  <a:tcPr marL="7854" marR="7854" marT="785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C69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</a:t>
                      </a:r>
                      <a:r>
                        <a:rPr lang="en-US" sz="140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r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54" marR="7854" marT="785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C6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318265"/>
                  </a:ext>
                </a:extLst>
              </a:tr>
            </a:tbl>
          </a:graphicData>
        </a:graphic>
      </p:graphicFrame>
      <p:sp>
        <p:nvSpPr>
          <p:cNvPr id="31" name="Rectangle 30">
            <a:extLst>
              <a:ext uri="{FF2B5EF4-FFF2-40B4-BE49-F238E27FC236}">
                <a16:creationId xmlns:a16="http://schemas.microsoft.com/office/drawing/2014/main" id="{ED9C24BE-4BC6-F60D-331A-C81006ACDABE}"/>
              </a:ext>
            </a:extLst>
          </p:cNvPr>
          <p:cNvSpPr/>
          <p:nvPr/>
        </p:nvSpPr>
        <p:spPr bwMode="auto">
          <a:xfrm>
            <a:off x="12419384" y="19115054"/>
            <a:ext cx="5677645" cy="542532"/>
          </a:xfrm>
          <a:prstGeom prst="rect">
            <a:avLst/>
          </a:prstGeom>
          <a:ln w="28575">
            <a:solidFill>
              <a:srgbClr val="B1810B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tep-3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ine tuned trained models for audio-to-text transcription (Sample)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33" name="Table 32">
            <a:extLst>
              <a:ext uri="{FF2B5EF4-FFF2-40B4-BE49-F238E27FC236}">
                <a16:creationId xmlns:a16="http://schemas.microsoft.com/office/drawing/2014/main" id="{D810B262-83C5-5F35-EA58-C4A17FD08A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2670611"/>
              </p:ext>
            </p:extLst>
          </p:nvPr>
        </p:nvGraphicFramePr>
        <p:xfrm>
          <a:off x="18497554" y="18996687"/>
          <a:ext cx="3725889" cy="2270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68955">
                  <a:extLst>
                    <a:ext uri="{9D8B030D-6E8A-4147-A177-3AD203B41FA5}">
                      <a16:colId xmlns:a16="http://schemas.microsoft.com/office/drawing/2014/main" val="2738900412"/>
                    </a:ext>
                  </a:extLst>
                </a:gridCol>
                <a:gridCol w="1130300">
                  <a:extLst>
                    <a:ext uri="{9D8B030D-6E8A-4147-A177-3AD203B41FA5}">
                      <a16:colId xmlns:a16="http://schemas.microsoft.com/office/drawing/2014/main" val="4128334348"/>
                    </a:ext>
                  </a:extLst>
                </a:gridCol>
                <a:gridCol w="1326634">
                  <a:extLst>
                    <a:ext uri="{9D8B030D-6E8A-4147-A177-3AD203B41FA5}">
                      <a16:colId xmlns:a16="http://schemas.microsoft.com/office/drawing/2014/main" val="1245392488"/>
                    </a:ext>
                  </a:extLst>
                </a:gridCol>
              </a:tblGrid>
              <a:tr h="361950">
                <a:tc>
                  <a:txBody>
                    <a:bodyPr/>
                    <a:lstStyle/>
                    <a:p>
                      <a:pPr marL="0" algn="l" defTabSz="522475" rtl="0" eaLnBrk="1" fontAlgn="ctr" latinLnBrk="0" hangingPunct="1"/>
                      <a:r>
                        <a:rPr lang="en-US" sz="1600" b="0" i="0" u="none" strike="noStrike" kern="120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Language</a:t>
                      </a:r>
                    </a:p>
                  </a:txBody>
                  <a:tcPr marL="9525" marR="9525" marT="9525" marB="0" anchor="b">
                    <a:solidFill>
                      <a:srgbClr val="DEC69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522475" rtl="0" eaLnBrk="1" fontAlgn="ctr" latinLnBrk="0" hangingPunct="1"/>
                      <a:r>
                        <a:rPr lang="en-US" sz="1600" b="0" i="0" u="none" strike="noStrike" kern="120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File Size</a:t>
                      </a:r>
                    </a:p>
                  </a:txBody>
                  <a:tcPr marL="9525" marR="9525" marT="9525" marB="0" anchor="b">
                    <a:solidFill>
                      <a:srgbClr val="DEC69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522475" rtl="0" eaLnBrk="1" fontAlgn="ctr" latinLnBrk="0" hangingPunct="1"/>
                      <a:r>
                        <a:rPr lang="en-US" sz="1600" b="0" i="0" u="none" strike="noStrike" kern="120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Word Error Rate</a:t>
                      </a:r>
                    </a:p>
                  </a:txBody>
                  <a:tcPr marL="9525" marR="9525" marT="9525" marB="0" anchor="b">
                    <a:solidFill>
                      <a:srgbClr val="DEC6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2327777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algn="l" defTabSz="522475" rtl="0" eaLnBrk="1" fontAlgn="ctr" latinLnBrk="0" hangingPunct="1"/>
                      <a:r>
                        <a:rPr lang="en-US" sz="1600" b="0" i="0" u="none" strike="noStrike" kern="120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German</a:t>
                      </a:r>
                    </a:p>
                  </a:txBody>
                  <a:tcPr marL="9525" marR="9525" marT="9525" marB="0" anchor="ctr">
                    <a:solidFill>
                      <a:srgbClr val="DEC69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522475" rtl="0" eaLnBrk="1" fontAlgn="ctr" latinLnBrk="0" hangingPunct="1"/>
                      <a:r>
                        <a:rPr lang="en-US" sz="1600" b="0" i="0" u="none" strike="noStrike" kern="120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262.06 MB</a:t>
                      </a:r>
                    </a:p>
                  </a:txBody>
                  <a:tcPr marL="9525" marR="9525" marT="9525" marB="0" anchor="ctr">
                    <a:solidFill>
                      <a:srgbClr val="DEC69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522475" rtl="0" eaLnBrk="1" fontAlgn="ctr" latinLnBrk="0" hangingPunct="1"/>
                      <a:r>
                        <a:rPr lang="en-US" sz="1600" b="0" i="0" u="none" strike="noStrike" kern="120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8.5</a:t>
                      </a:r>
                    </a:p>
                  </a:txBody>
                  <a:tcPr marL="9525" marR="9525" marT="9525" marB="0" anchor="ctr">
                    <a:solidFill>
                      <a:srgbClr val="DEC6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8456122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algn="l" defTabSz="522475" rtl="0" eaLnBrk="1" fontAlgn="ctr" latinLnBrk="0" hangingPunct="1"/>
                      <a:r>
                        <a:rPr lang="en-US" sz="1600" b="0" i="0" u="none" strike="noStrike" kern="120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Spanish</a:t>
                      </a:r>
                    </a:p>
                  </a:txBody>
                  <a:tcPr marL="9525" marR="9525" marT="9525" marB="0" anchor="ctr">
                    <a:solidFill>
                      <a:srgbClr val="DEC69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522475" rtl="0" eaLnBrk="1" fontAlgn="ctr" latinLnBrk="0" hangingPunct="1"/>
                      <a:r>
                        <a:rPr lang="en-US" sz="1600" b="0" i="0" u="none" strike="noStrike" kern="120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262.08 MB</a:t>
                      </a:r>
                    </a:p>
                  </a:txBody>
                  <a:tcPr marL="9525" marR="9525" marT="9525" marB="0" anchor="ctr">
                    <a:solidFill>
                      <a:srgbClr val="DEC69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522475" rtl="0" eaLnBrk="1" fontAlgn="ctr" latinLnBrk="0" hangingPunct="1"/>
                      <a:r>
                        <a:rPr lang="en-US" sz="1600" b="0" i="0" u="none" strike="noStrike" kern="120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7.6</a:t>
                      </a:r>
                    </a:p>
                  </a:txBody>
                  <a:tcPr marL="9525" marR="9525" marT="9525" marB="0" anchor="ctr">
                    <a:solidFill>
                      <a:srgbClr val="DEC6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2337604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algn="l" defTabSz="522475" rtl="0" eaLnBrk="1" fontAlgn="ctr" latinLnBrk="0" hangingPunct="1"/>
                      <a:r>
                        <a:rPr lang="en-US" sz="1600" b="0" i="0" u="none" strike="noStrike" kern="120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Polish</a:t>
                      </a:r>
                    </a:p>
                  </a:txBody>
                  <a:tcPr marL="9525" marR="9525" marT="9525" marB="0" anchor="ctr">
                    <a:solidFill>
                      <a:srgbClr val="DEC69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522475" rtl="0" eaLnBrk="1" fontAlgn="ctr" latinLnBrk="0" hangingPunct="1"/>
                      <a:r>
                        <a:rPr lang="en-US" sz="1600" b="0" i="0" u="none" strike="noStrike" kern="120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262.08 MB</a:t>
                      </a:r>
                    </a:p>
                  </a:txBody>
                  <a:tcPr marL="9525" marR="9525" marT="9525" marB="0" anchor="ctr">
                    <a:solidFill>
                      <a:srgbClr val="DEC69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522475" rtl="0" eaLnBrk="1" fontAlgn="ctr" latinLnBrk="0" hangingPunct="1"/>
                      <a:r>
                        <a:rPr lang="en-US" sz="1600" b="0" i="0" u="none" strike="noStrike" kern="120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4.6</a:t>
                      </a:r>
                    </a:p>
                  </a:txBody>
                  <a:tcPr marL="9525" marR="9525" marT="9525" marB="0" anchor="ctr">
                    <a:solidFill>
                      <a:srgbClr val="DEC6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664927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algn="l" defTabSz="522475" rtl="0" eaLnBrk="1" fontAlgn="ctr" latinLnBrk="0" hangingPunct="1"/>
                      <a:r>
                        <a:rPr lang="en-US" sz="1600" b="0" i="0" u="none" strike="noStrike" kern="120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Italian</a:t>
                      </a:r>
                    </a:p>
                  </a:txBody>
                  <a:tcPr marL="9525" marR="9525" marT="9525" marB="0" anchor="ctr">
                    <a:solidFill>
                      <a:srgbClr val="DEC69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522475" rtl="0" eaLnBrk="1" fontAlgn="ctr" latinLnBrk="0" hangingPunct="1"/>
                      <a:r>
                        <a:rPr lang="en-US" sz="1600" b="0" i="0" u="none" strike="noStrike" kern="120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262.09 MB</a:t>
                      </a:r>
                    </a:p>
                  </a:txBody>
                  <a:tcPr marL="9525" marR="9525" marT="9525" marB="0" anchor="ctr">
                    <a:solidFill>
                      <a:srgbClr val="DEC69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522475" rtl="0" eaLnBrk="1" fontAlgn="ctr" latinLnBrk="0" hangingPunct="1"/>
                      <a:r>
                        <a:rPr lang="en-US" sz="1600" b="0" i="0" u="none" strike="noStrike" kern="120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2.1</a:t>
                      </a:r>
                    </a:p>
                  </a:txBody>
                  <a:tcPr marL="9525" marR="9525" marT="9525" marB="0" anchor="ctr">
                    <a:solidFill>
                      <a:srgbClr val="DEC6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849032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algn="l" defTabSz="522475" rtl="0" eaLnBrk="1" fontAlgn="ctr" latinLnBrk="0" hangingPunct="1"/>
                      <a:r>
                        <a:rPr lang="en-US" sz="1600" b="0" i="0" u="none" strike="noStrike" kern="120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Portuguese</a:t>
                      </a:r>
                    </a:p>
                  </a:txBody>
                  <a:tcPr marL="9525" marR="9525" marT="9525" marB="0" anchor="ctr">
                    <a:solidFill>
                      <a:srgbClr val="DEC69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522475" rtl="0" eaLnBrk="1" fontAlgn="ctr" latinLnBrk="0" hangingPunct="1"/>
                      <a:r>
                        <a:rPr lang="en-US" sz="1600" b="0" i="0" u="none" strike="noStrike" kern="120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262.1 MB</a:t>
                      </a:r>
                    </a:p>
                  </a:txBody>
                  <a:tcPr marL="9525" marR="9525" marT="9525" marB="0" anchor="ctr">
                    <a:solidFill>
                      <a:srgbClr val="DEC69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522475" rtl="0" eaLnBrk="1" fontAlgn="ctr" latinLnBrk="0" hangingPunct="1"/>
                      <a:r>
                        <a:rPr lang="en-US" sz="1600" b="0" i="0" u="none" strike="noStrike" kern="120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7.1</a:t>
                      </a:r>
                    </a:p>
                  </a:txBody>
                  <a:tcPr marL="9525" marR="9525" marT="9525" marB="0" anchor="ctr">
                    <a:solidFill>
                      <a:srgbClr val="DEC6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645093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algn="l" defTabSz="522475" rtl="0" eaLnBrk="1" fontAlgn="ctr" latinLnBrk="0" hangingPunct="1"/>
                      <a:r>
                        <a:rPr lang="en-US" sz="1600" b="0" i="0" u="none" strike="noStrike" kern="120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French</a:t>
                      </a:r>
                    </a:p>
                  </a:txBody>
                  <a:tcPr marL="9525" marR="9525" marT="9525" marB="0" anchor="ctr">
                    <a:solidFill>
                      <a:srgbClr val="DEC69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522475" rtl="0" eaLnBrk="1" fontAlgn="ctr" latinLnBrk="0" hangingPunct="1"/>
                      <a:r>
                        <a:rPr lang="en-US" sz="1600" b="0" i="0" u="none" strike="noStrike" kern="120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262.11 MB</a:t>
                      </a:r>
                    </a:p>
                  </a:txBody>
                  <a:tcPr marL="9525" marR="9525" marT="9525" marB="0" anchor="ctr">
                    <a:solidFill>
                      <a:srgbClr val="DEC69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522475" rtl="0" eaLnBrk="1" fontAlgn="ctr" latinLnBrk="0" hangingPunct="1"/>
                      <a:r>
                        <a:rPr lang="en-US" sz="1600" b="0" i="0" u="none" strike="noStrike" kern="120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5.2</a:t>
                      </a:r>
                    </a:p>
                  </a:txBody>
                  <a:tcPr marL="9525" marR="9525" marT="9525" marB="0" anchor="ctr">
                    <a:solidFill>
                      <a:srgbClr val="DEC6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163958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algn="l" defTabSz="522475" rtl="0" eaLnBrk="1" fontAlgn="ctr" latinLnBrk="0" hangingPunct="1"/>
                      <a:r>
                        <a:rPr lang="en-US" sz="1600" b="0" i="0" u="none" strike="noStrike" kern="120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Dutch</a:t>
                      </a:r>
                    </a:p>
                  </a:txBody>
                  <a:tcPr marL="9525" marR="9525" marT="9525" marB="0" anchor="ctr">
                    <a:solidFill>
                      <a:srgbClr val="DEC69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522475" rtl="0" eaLnBrk="1" fontAlgn="ctr" latinLnBrk="0" hangingPunct="1"/>
                      <a:r>
                        <a:rPr lang="en-US" sz="1600" b="0" i="0" u="none" strike="noStrike" kern="120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262.12 MB</a:t>
                      </a:r>
                    </a:p>
                  </a:txBody>
                  <a:tcPr marL="9525" marR="9525" marT="9525" marB="0" anchor="ctr">
                    <a:solidFill>
                      <a:srgbClr val="DEC69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522475" rtl="0" eaLnBrk="1" fontAlgn="ctr" latinLnBrk="0" hangingPunct="1"/>
                      <a:r>
                        <a:rPr lang="en-US" sz="1600" b="0" i="0" u="none" strike="noStrike" kern="120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1.1</a:t>
                      </a:r>
                    </a:p>
                  </a:txBody>
                  <a:tcPr marL="9525" marR="9525" marT="9525" marB="0" anchor="ctr">
                    <a:solidFill>
                      <a:srgbClr val="DEC6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5349045"/>
                  </a:ext>
                </a:extLst>
              </a:tr>
            </a:tbl>
          </a:graphicData>
        </a:graphic>
      </p:graphicFrame>
      <p:sp>
        <p:nvSpPr>
          <p:cNvPr id="35" name="Rectangle 34">
            <a:extLst>
              <a:ext uri="{FF2B5EF4-FFF2-40B4-BE49-F238E27FC236}">
                <a16:creationId xmlns:a16="http://schemas.microsoft.com/office/drawing/2014/main" id="{BA1BD031-B125-DEF1-F5F7-9BCE821658BD}"/>
              </a:ext>
            </a:extLst>
          </p:cNvPr>
          <p:cNvSpPr/>
          <p:nvPr/>
        </p:nvSpPr>
        <p:spPr bwMode="auto">
          <a:xfrm>
            <a:off x="18514833" y="18164719"/>
            <a:ext cx="3708610" cy="831968"/>
          </a:xfrm>
          <a:prstGeom prst="rect">
            <a:avLst/>
          </a:prstGeom>
          <a:ln w="28575">
            <a:solidFill>
              <a:srgbClr val="B1810B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tep-4 : Transcription Evaluation metric: Word error rate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CE1C85D0-5112-22F0-0274-3C26F7D792F1}"/>
              </a:ext>
            </a:extLst>
          </p:cNvPr>
          <p:cNvSpPr/>
          <p:nvPr/>
        </p:nvSpPr>
        <p:spPr bwMode="auto">
          <a:xfrm>
            <a:off x="36483104" y="11592808"/>
            <a:ext cx="6884302" cy="5591651"/>
          </a:xfrm>
          <a:prstGeom prst="rect">
            <a:avLst/>
          </a:prstGeom>
          <a:noFill/>
          <a:ln w="57150">
            <a:solidFill>
              <a:srgbClr val="CFB991"/>
            </a:solidFill>
            <a:prstDash val="lgDash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+mn-ea"/>
              <a:cs typeface="+mn-cs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3422CE73-97DC-84F4-E927-7D4C0A046BC6}"/>
              </a:ext>
            </a:extLst>
          </p:cNvPr>
          <p:cNvSpPr/>
          <p:nvPr/>
        </p:nvSpPr>
        <p:spPr bwMode="auto">
          <a:xfrm>
            <a:off x="37751725" y="14461112"/>
            <a:ext cx="4391468" cy="320502"/>
          </a:xfrm>
          <a:prstGeom prst="rect">
            <a:avLst/>
          </a:prstGeom>
          <a:ln w="28575">
            <a:solidFill>
              <a:srgbClr val="B1810B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lignment Evaluation metric: Alignment error rate</a:t>
            </a:r>
          </a:p>
        </p:txBody>
      </p:sp>
      <p:pic>
        <p:nvPicPr>
          <p:cNvPr id="87" name="Picture 86">
            <a:extLst>
              <a:ext uri="{FF2B5EF4-FFF2-40B4-BE49-F238E27FC236}">
                <a16:creationId xmlns:a16="http://schemas.microsoft.com/office/drawing/2014/main" id="{AE7A55D1-0028-B63E-A21C-0C3F89305713}"/>
              </a:ext>
            </a:extLst>
          </p:cNvPr>
          <p:cNvPicPr>
            <a:picLocks noChangeAspect="1"/>
          </p:cNvPicPr>
          <p:nvPr/>
        </p:nvPicPr>
        <p:blipFill rotWithShape="1">
          <a:blip r:embed="rId37"/>
          <a:srcRect l="-17401" t="2530" r="67401" b="3741"/>
          <a:stretch/>
        </p:blipFill>
        <p:spPr>
          <a:xfrm>
            <a:off x="40186510" y="12796287"/>
            <a:ext cx="2977394" cy="620893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</p:pic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CF203C4E-1A8E-1DF9-5C98-AAF3EB8E3020}"/>
              </a:ext>
            </a:extLst>
          </p:cNvPr>
          <p:cNvCxnSpPr/>
          <p:nvPr/>
        </p:nvCxnSpPr>
        <p:spPr>
          <a:xfrm>
            <a:off x="40281656" y="13112824"/>
            <a:ext cx="57077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1" name="Picture 90">
            <a:extLst>
              <a:ext uri="{FF2B5EF4-FFF2-40B4-BE49-F238E27FC236}">
                <a16:creationId xmlns:a16="http://schemas.microsoft.com/office/drawing/2014/main" id="{5070FBA4-4A00-6CF1-0534-0A3D2570CB29}"/>
              </a:ext>
            </a:extLst>
          </p:cNvPr>
          <p:cNvPicPr>
            <a:picLocks noChangeAspect="1"/>
          </p:cNvPicPr>
          <p:nvPr/>
        </p:nvPicPr>
        <p:blipFill rotWithShape="1">
          <a:blip r:embed="rId38"/>
          <a:srcRect r="1884"/>
          <a:stretch/>
        </p:blipFill>
        <p:spPr>
          <a:xfrm>
            <a:off x="36564811" y="12465998"/>
            <a:ext cx="3621699" cy="1658189"/>
          </a:xfrm>
          <a:prstGeom prst="rect">
            <a:avLst/>
          </a:prstGeom>
        </p:spPr>
      </p:pic>
      <p:sp>
        <p:nvSpPr>
          <p:cNvPr id="94" name="TextBox 93">
            <a:extLst>
              <a:ext uri="{FF2B5EF4-FFF2-40B4-BE49-F238E27FC236}">
                <a16:creationId xmlns:a16="http://schemas.microsoft.com/office/drawing/2014/main" id="{32AE5E7F-91E6-64F2-A6A4-2C7AE3A3A1C8}"/>
              </a:ext>
            </a:extLst>
          </p:cNvPr>
          <p:cNvSpPr txBox="1"/>
          <p:nvPr/>
        </p:nvSpPr>
        <p:spPr>
          <a:xfrm>
            <a:off x="36627862" y="14176798"/>
            <a:ext cx="430554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/>
              <a:t>Experiments with of Phoneme recognition Model: Wav2Vec2Phoneme</a:t>
            </a: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77C60C34-D840-08F4-42A0-8252FE7B2A12}"/>
              </a:ext>
            </a:extLst>
          </p:cNvPr>
          <p:cNvSpPr txBox="1"/>
          <p:nvPr/>
        </p:nvSpPr>
        <p:spPr>
          <a:xfrm>
            <a:off x="40595672" y="13521864"/>
            <a:ext cx="629707" cy="338554"/>
          </a:xfrm>
          <a:prstGeom prst="rect">
            <a:avLst/>
          </a:prstGeom>
          <a:solidFill>
            <a:srgbClr val="DEC699"/>
          </a:solidFill>
        </p:spPr>
        <p:txBody>
          <a:bodyPr wrap="square">
            <a:spAutoFit/>
          </a:bodyPr>
          <a:lstStyle/>
          <a:p>
            <a:r>
              <a:rPr lang="en-US" b="0" i="0">
                <a:solidFill>
                  <a:srgbClr val="0D0D0D"/>
                </a:solidFill>
                <a:effectLst/>
                <a:latin typeface="Söhne"/>
              </a:rPr>
              <a:t>"cat”</a:t>
            </a:r>
            <a:endParaRPr lang="en-US"/>
          </a:p>
        </p:txBody>
      </p:sp>
      <p:cxnSp>
        <p:nvCxnSpPr>
          <p:cNvPr id="123" name="Straight Arrow Connector 122">
            <a:extLst>
              <a:ext uri="{FF2B5EF4-FFF2-40B4-BE49-F238E27FC236}">
                <a16:creationId xmlns:a16="http://schemas.microsoft.com/office/drawing/2014/main" id="{492850ED-4FDD-15DA-5884-FA37FC54A780}"/>
              </a:ext>
            </a:extLst>
          </p:cNvPr>
          <p:cNvCxnSpPr>
            <a:cxnSpLocks/>
          </p:cNvCxnSpPr>
          <p:nvPr/>
        </p:nvCxnSpPr>
        <p:spPr>
          <a:xfrm>
            <a:off x="41225379" y="13679052"/>
            <a:ext cx="3203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TextBox 124">
            <a:extLst>
              <a:ext uri="{FF2B5EF4-FFF2-40B4-BE49-F238E27FC236}">
                <a16:creationId xmlns:a16="http://schemas.microsoft.com/office/drawing/2014/main" id="{40174788-A52B-0FF7-8E00-A9ADBCEBC961}"/>
              </a:ext>
            </a:extLst>
          </p:cNvPr>
          <p:cNvSpPr txBox="1"/>
          <p:nvPr/>
        </p:nvSpPr>
        <p:spPr>
          <a:xfrm>
            <a:off x="41568771" y="13516918"/>
            <a:ext cx="1405668" cy="338554"/>
          </a:xfrm>
          <a:prstGeom prst="rect">
            <a:avLst/>
          </a:prstGeom>
          <a:solidFill>
            <a:srgbClr val="DEC699"/>
          </a:solidFill>
        </p:spPr>
        <p:txBody>
          <a:bodyPr wrap="square">
            <a:spAutoFit/>
          </a:bodyPr>
          <a:lstStyle/>
          <a:p>
            <a:r>
              <a:rPr lang="en-US">
                <a:solidFill>
                  <a:srgbClr val="0D0D0D"/>
                </a:solidFill>
                <a:latin typeface="Söhne"/>
              </a:rPr>
              <a:t>“</a:t>
            </a:r>
            <a:r>
              <a:rPr lang="en-US" b="0" i="0">
                <a:solidFill>
                  <a:srgbClr val="0D0D0D"/>
                </a:solidFill>
                <a:effectLst/>
                <a:latin typeface="Söhne"/>
              </a:rPr>
              <a:t>/k/, /</a:t>
            </a:r>
            <a:r>
              <a:rPr lang="en-US" b="0" i="0" err="1">
                <a:solidFill>
                  <a:srgbClr val="0D0D0D"/>
                </a:solidFill>
                <a:effectLst/>
                <a:latin typeface="Söhne"/>
              </a:rPr>
              <a:t>æ</a:t>
            </a:r>
            <a:r>
              <a:rPr lang="en-US" b="0" i="0">
                <a:solidFill>
                  <a:srgbClr val="0D0D0D"/>
                </a:solidFill>
                <a:effectLst/>
                <a:latin typeface="Söhne"/>
              </a:rPr>
              <a:t>/, /t/” </a:t>
            </a:r>
            <a:endParaRPr lang="en-US"/>
          </a:p>
        </p:txBody>
      </p:sp>
      <p:sp>
        <p:nvSpPr>
          <p:cNvPr id="41" name="Rectangle: Rounded Corners 81">
            <a:extLst>
              <a:ext uri="{FF2B5EF4-FFF2-40B4-BE49-F238E27FC236}">
                <a16:creationId xmlns:a16="http://schemas.microsoft.com/office/drawing/2014/main" id="{E0F07C95-6043-56C8-6DD5-B036A422C06B}"/>
              </a:ext>
            </a:extLst>
          </p:cNvPr>
          <p:cNvSpPr/>
          <p:nvPr/>
        </p:nvSpPr>
        <p:spPr bwMode="auto">
          <a:xfrm>
            <a:off x="38714447" y="11731858"/>
            <a:ext cx="2554163" cy="482700"/>
          </a:xfrm>
          <a:prstGeom prst="roundRect">
            <a:avLst/>
          </a:prstGeom>
          <a:ln w="19050">
            <a:solidFill>
              <a:srgbClr val="B1810B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en-A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30477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609539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914309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219078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>
                <a:solidFill>
                  <a:prstClr val="black"/>
                </a:solidFill>
                <a:latin typeface="Arial"/>
                <a:ea typeface="Calibri"/>
                <a:cs typeface="Arial"/>
              </a:rPr>
              <a:t>Phonemization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Calibri"/>
              <a:cs typeface="Arial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Calibri"/>
              <a:cs typeface="Arial" panose="020B0604020202020204" pitchFamily="34" charset="0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40DF6283-8957-D58A-7A78-692690CAB58C}"/>
              </a:ext>
            </a:extLst>
          </p:cNvPr>
          <p:cNvSpPr/>
          <p:nvPr/>
        </p:nvSpPr>
        <p:spPr bwMode="auto">
          <a:xfrm>
            <a:off x="36598138" y="13785633"/>
            <a:ext cx="202242" cy="33569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pic>
        <p:nvPicPr>
          <p:cNvPr id="4" name="Picture 3" descr="A qr code with a few black squares&#10;&#10;Description automatically generated">
            <a:extLst>
              <a:ext uri="{FF2B5EF4-FFF2-40B4-BE49-F238E27FC236}">
                <a16:creationId xmlns:a16="http://schemas.microsoft.com/office/drawing/2014/main" id="{E4E1194E-83A3-B33A-93ED-E6CE3F9B9774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63824" y="85829"/>
            <a:ext cx="3677957" cy="3693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3538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6101"/>
    </mc:Choice>
    <mc:Fallback xmlns="">
      <p:transition spd="slow" advTm="56101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3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Y9ZxFT7OPePSRnv9apm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A_V2pG7SfXAWhH9LM9h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PIX0YisH1L.J5jPYg6oA"/>
</p:tagLst>
</file>

<file path=ppt/theme/theme1.xml><?xml version="1.0" encoding="utf-8"?>
<a:theme xmlns:a="http://schemas.openxmlformats.org/drawingml/2006/main" name="INFORMS2015_Comp_Conf">
  <a:themeElements>
    <a:clrScheme name="test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E36C09"/>
      </a:hlink>
      <a:folHlink>
        <a:srgbClr val="E36C09"/>
      </a:folHlink>
    </a:clrScheme>
    <a:fontScheme name="Blank">
      <a:majorFont>
        <a:latin typeface="Times"/>
        <a:ea typeface=""/>
        <a:cs typeface=""/>
      </a:majorFont>
      <a:minorFont>
        <a:latin typeface="Time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AU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AU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8275B0F64C39D45B48ED87B7D5A772E" ma:contentTypeVersion="13" ma:contentTypeDescription="Create a new document." ma:contentTypeScope="" ma:versionID="a62b194ba624c8cf62b60144cd5b8a77">
  <xsd:schema xmlns:xsd="http://www.w3.org/2001/XMLSchema" xmlns:xs="http://www.w3.org/2001/XMLSchema" xmlns:p="http://schemas.microsoft.com/office/2006/metadata/properties" xmlns:ns3="b1755f8e-5024-43d4-9f4e-f0720ef5cbea" xmlns:ns4="b60307e8-227d-4226-bf3f-3f3e3f614599" targetNamespace="http://schemas.microsoft.com/office/2006/metadata/properties" ma:root="true" ma:fieldsID="f7af95be82f763595ac7849bdb709092" ns3:_="" ns4:_="">
    <xsd:import namespace="b1755f8e-5024-43d4-9f4e-f0720ef5cbea"/>
    <xsd:import namespace="b60307e8-227d-4226-bf3f-3f3e3f61459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755f8e-5024-43d4-9f4e-f0720ef5cbe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60307e8-227d-4226-bf3f-3f3e3f614599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99380DB-4B35-4657-950C-6BBA781E421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BE5E52D-EB9D-4B72-A928-24760AE9C86A}">
  <ds:schemaRefs>
    <ds:schemaRef ds:uri="b1755f8e-5024-43d4-9f4e-f0720ef5cbea"/>
    <ds:schemaRef ds:uri="b60307e8-227d-4226-bf3f-3f3e3f61459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8BA11E28-B7DB-49AA-A1E7-5E933385601E}">
  <ds:schemaRefs>
    <ds:schemaRef ds:uri="b1755f8e-5024-43d4-9f4e-f0720ef5cbea"/>
    <ds:schemaRef ds:uri="b60307e8-227d-4226-bf3f-3f3e3f61459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FORMS2015_Comp_Conf</Template>
  <TotalTime>0</TotalTime>
  <Words>842</Words>
  <Application>Microsoft Macintosh PowerPoint</Application>
  <PresentationFormat>Custom</PresentationFormat>
  <Paragraphs>13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Segoe UI</vt:lpstr>
      <vt:lpstr>Söhne</vt:lpstr>
      <vt:lpstr>Times</vt:lpstr>
      <vt:lpstr>Times New Roman</vt:lpstr>
      <vt:lpstr>INFORMS2015_Comp_Conf</vt:lpstr>
      <vt:lpstr>think-cell Slide</vt:lpstr>
      <vt:lpstr>PowerPoint Presentation</vt:lpstr>
    </vt:vector>
  </TitlesOfParts>
  <Company>Advance Auto Part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tthew Lanham</dc:creator>
  <cp:lastModifiedBy>Anupama M</cp:lastModifiedBy>
  <cp:revision>21</cp:revision>
  <cp:lastPrinted>2001-08-01T02:48:55Z</cp:lastPrinted>
  <dcterms:created xsi:type="dcterms:W3CDTF">2014-12-02T19:25:45Z</dcterms:created>
  <dcterms:modified xsi:type="dcterms:W3CDTF">2024-05-17T22:01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8275B0F64C39D45B48ED87B7D5A772E</vt:lpwstr>
  </property>
  <property fmtid="{D5CDD505-2E9C-101B-9397-08002B2CF9AE}" pid="3" name="MSIP_Label_4044bd30-2ed7-4c9d-9d12-46200872a97b_Enabled">
    <vt:lpwstr>true</vt:lpwstr>
  </property>
  <property fmtid="{D5CDD505-2E9C-101B-9397-08002B2CF9AE}" pid="4" name="MSIP_Label_4044bd30-2ed7-4c9d-9d12-46200872a97b_SetDate">
    <vt:lpwstr>2024-02-12T20:48:15Z</vt:lpwstr>
  </property>
  <property fmtid="{D5CDD505-2E9C-101B-9397-08002B2CF9AE}" pid="5" name="MSIP_Label_4044bd30-2ed7-4c9d-9d12-46200872a97b_Method">
    <vt:lpwstr>Standard</vt:lpwstr>
  </property>
  <property fmtid="{D5CDD505-2E9C-101B-9397-08002B2CF9AE}" pid="6" name="MSIP_Label_4044bd30-2ed7-4c9d-9d12-46200872a97b_Name">
    <vt:lpwstr>defa4170-0d19-0005-0004-bc88714345d2</vt:lpwstr>
  </property>
  <property fmtid="{D5CDD505-2E9C-101B-9397-08002B2CF9AE}" pid="7" name="MSIP_Label_4044bd30-2ed7-4c9d-9d12-46200872a97b_SiteId">
    <vt:lpwstr>4130bd39-7c53-419c-b1e5-8758d6d63f21</vt:lpwstr>
  </property>
  <property fmtid="{D5CDD505-2E9C-101B-9397-08002B2CF9AE}" pid="8" name="MSIP_Label_4044bd30-2ed7-4c9d-9d12-46200872a97b_ActionId">
    <vt:lpwstr>e3a88b17-d1aa-416c-b03d-a4a770b4d0a2</vt:lpwstr>
  </property>
  <property fmtid="{D5CDD505-2E9C-101B-9397-08002B2CF9AE}" pid="9" name="MSIP_Label_4044bd30-2ed7-4c9d-9d12-46200872a97b_ContentBits">
    <vt:lpwstr>0</vt:lpwstr>
  </property>
</Properties>
</file>